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53</c:v>
                </c:pt>
                <c:pt idx="1">
                  <c:v>559</c:v>
                </c:pt>
                <c:pt idx="2">
                  <c:v>564</c:v>
                </c:pt>
                <c:pt idx="3">
                  <c:v>543</c:v>
                </c:pt>
                <c:pt idx="4">
                  <c:v>501</c:v>
                </c:pt>
                <c:pt idx="5">
                  <c:v>466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6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5</c:v>
                </c:pt>
                <c:pt idx="46">
                  <c:v>22</c:v>
                </c:pt>
                <c:pt idx="47">
                  <c:v>22</c:v>
                </c:pt>
                <c:pt idx="48">
                  <c:v>20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6</c:v>
                </c:pt>
                <c:pt idx="53">
                  <c:v>14</c:v>
                </c:pt>
                <c:pt idx="54">
                  <c:v>1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8.21605432753165</c:v>
                </c:pt>
                <c:pt idx="32">
                  <c:v>99.791412100607104</c:v>
                </c:pt>
                <c:pt idx="33">
                  <c:v>91.971402696727992</c:v>
                </c:pt>
                <c:pt idx="34">
                  <c:v>84.482604577250157</c:v>
                </c:pt>
                <c:pt idx="35">
                  <c:v>77.506805132118515</c:v>
                </c:pt>
                <c:pt idx="36">
                  <c:v>71.164896838215526</c:v>
                </c:pt>
                <c:pt idx="37">
                  <c:v>65.243038808012344</c:v>
                </c:pt>
                <c:pt idx="38">
                  <c:v>59.6828987529587</c:v>
                </c:pt>
                <c:pt idx="39">
                  <c:v>54.492189187720371</c:v>
                </c:pt>
                <c:pt idx="40">
                  <c:v>49.613094127429065</c:v>
                </c:pt>
                <c:pt idx="41">
                  <c:v>44.965345182831427</c:v>
                </c:pt>
                <c:pt idx="42">
                  <c:v>40.667103985955116</c:v>
                </c:pt>
                <c:pt idx="43">
                  <c:v>36.778024512549905</c:v>
                </c:pt>
                <c:pt idx="44">
                  <c:v>33.040102749907142</c:v>
                </c:pt>
                <c:pt idx="45">
                  <c:v>29.563642975284964</c:v>
                </c:pt>
                <c:pt idx="46">
                  <c:v>26.325259419531676</c:v>
                </c:pt>
                <c:pt idx="47">
                  <c:v>23.140514177045109</c:v>
                </c:pt>
                <c:pt idx="48">
                  <c:v>20.267273357580471</c:v>
                </c:pt>
                <c:pt idx="49">
                  <c:v>17.550897749233471</c:v>
                </c:pt>
                <c:pt idx="50">
                  <c:v>14.919728057211582</c:v>
                </c:pt>
                <c:pt idx="51">
                  <c:v>12.565902974766217</c:v>
                </c:pt>
                <c:pt idx="52">
                  <c:v>10.253795817869289</c:v>
                </c:pt>
                <c:pt idx="53">
                  <c:v>8.0900785025079589</c:v>
                </c:pt>
                <c:pt idx="54">
                  <c:v>6.0437248935750931</c:v>
                </c:pt>
                <c:pt idx="55">
                  <c:v>4.095745334807769</c:v>
                </c:pt>
                <c:pt idx="56">
                  <c:v>2.3387269157962685</c:v>
                </c:pt>
                <c:pt idx="57">
                  <c:v>0.62440334381814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8.34548855243033</c:v>
                </c:pt>
                <c:pt idx="32">
                  <c:v>100.15228081873907</c:v>
                </c:pt>
                <c:pt idx="33">
                  <c:v>92.641355156728565</c:v>
                </c:pt>
                <c:pt idx="34">
                  <c:v>85.521567177238978</c:v>
                </c:pt>
                <c:pt idx="35">
                  <c:v>78.982847483081741</c:v>
                </c:pt>
                <c:pt idx="36">
                  <c:v>73.160313180545074</c:v>
                </c:pt>
                <c:pt idx="37">
                  <c:v>67.855813169970048</c:v>
                </c:pt>
                <c:pt idx="38">
                  <c:v>63.006656143735079</c:v>
                </c:pt>
                <c:pt idx="39">
                  <c:v>58.598274993491799</c:v>
                </c:pt>
                <c:pt idx="40">
                  <c:v>54.560571246576174</c:v>
                </c:pt>
                <c:pt idx="41">
                  <c:v>50.80178195703148</c:v>
                </c:pt>
                <c:pt idx="42">
                  <c:v>47.439826811648516</c:v>
                </c:pt>
                <c:pt idx="43">
                  <c:v>44.52917332671425</c:v>
                </c:pt>
                <c:pt idx="44">
                  <c:v>41.797348782875602</c:v>
                </c:pt>
                <c:pt idx="45">
                  <c:v>39.341598644194377</c:v>
                </c:pt>
                <c:pt idx="46">
                  <c:v>37.122095235887706</c:v>
                </c:pt>
                <c:pt idx="47">
                  <c:v>34.948284832390748</c:v>
                </c:pt>
                <c:pt idx="48">
                  <c:v>33.07487178290053</c:v>
                </c:pt>
                <c:pt idx="49">
                  <c:v>31.336528040844186</c:v>
                </c:pt>
                <c:pt idx="50">
                  <c:v>29.655785584418879</c:v>
                </c:pt>
                <c:pt idx="51">
                  <c:v>28.224435855763673</c:v>
                </c:pt>
                <c:pt idx="52">
                  <c:v>26.796647704720801</c:v>
                </c:pt>
                <c:pt idx="53">
                  <c:v>25.475558714683402</c:v>
                </c:pt>
                <c:pt idx="54">
                  <c:v>24.232054498802331</c:v>
                </c:pt>
                <c:pt idx="55">
                  <c:v>23.043475848124832</c:v>
                </c:pt>
                <c:pt idx="56">
                  <c:v>22.001704661763686</c:v>
                </c:pt>
                <c:pt idx="57">
                  <c:v>20.955440726027199</c:v>
                </c:pt>
                <c:pt idx="58">
                  <c:v>20.001617993958373</c:v>
                </c:pt>
                <c:pt idx="59">
                  <c:v>19.07111450308215</c:v>
                </c:pt>
                <c:pt idx="60">
                  <c:v>18.204523725517966</c:v>
                </c:pt>
                <c:pt idx="61">
                  <c:v>17.382268420223649</c:v>
                </c:pt>
                <c:pt idx="62">
                  <c:v>16.566443338300235</c:v>
                </c:pt>
                <c:pt idx="63">
                  <c:v>15.7835763484322</c:v>
                </c:pt>
                <c:pt idx="64">
                  <c:v>15.03039444677526</c:v>
                </c:pt>
                <c:pt idx="65">
                  <c:v>14.326646123118909</c:v>
                </c:pt>
                <c:pt idx="66">
                  <c:v>13.631684047267145</c:v>
                </c:pt>
                <c:pt idx="67">
                  <c:v>12.975114007368836</c:v>
                </c:pt>
                <c:pt idx="68">
                  <c:v>12.346179967400063</c:v>
                </c:pt>
                <c:pt idx="69">
                  <c:v>11.725919097872161</c:v>
                </c:pt>
                <c:pt idx="70">
                  <c:v>11.125929486627189</c:v>
                </c:pt>
                <c:pt idx="71">
                  <c:v>10.547388393697098</c:v>
                </c:pt>
                <c:pt idx="72">
                  <c:v>9.9964870430889796</c:v>
                </c:pt>
                <c:pt idx="73">
                  <c:v>9.4551196317968191</c:v>
                </c:pt>
                <c:pt idx="74">
                  <c:v>8.9165794653803694</c:v>
                </c:pt>
                <c:pt idx="75">
                  <c:v>8.4241237718693718</c:v>
                </c:pt>
                <c:pt idx="76">
                  <c:v>7.9186102192141679</c:v>
                </c:pt>
                <c:pt idx="77">
                  <c:v>7.4517250390477496</c:v>
                </c:pt>
                <c:pt idx="78">
                  <c:v>6.986135338143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8.47492277732897</c:v>
                </c:pt>
                <c:pt idx="32">
                  <c:v>100.51674493200709</c:v>
                </c:pt>
                <c:pt idx="33">
                  <c:v>93.315938655084238</c:v>
                </c:pt>
                <c:pt idx="34">
                  <c:v>86.562305673626526</c:v>
                </c:pt>
                <c:pt idx="35">
                  <c:v>80.474647764195851</c:v>
                </c:pt>
                <c:pt idx="36">
                  <c:v>75.207821863887119</c:v>
                </c:pt>
                <c:pt idx="37">
                  <c:v>70.586714446407512</c:v>
                </c:pt>
                <c:pt idx="38">
                  <c:v>66.555922339866299</c:v>
                </c:pt>
                <c:pt idx="39">
                  <c:v>63.069769953113017</c:v>
                </c:pt>
                <c:pt idx="40">
                  <c:v>60.046059999931586</c:v>
                </c:pt>
                <c:pt idx="41">
                  <c:v>57.401267418839105</c:v>
                </c:pt>
                <c:pt idx="42">
                  <c:v>55.262796448849173</c:v>
                </c:pt>
                <c:pt idx="43">
                  <c:v>53.688152266838507</c:v>
                </c:pt>
                <c:pt idx="44">
                  <c:v>52.388123884648707</c:v>
                </c:pt>
                <c:pt idx="45">
                  <c:v>51.451150948393376</c:v>
                </c:pt>
                <c:pt idx="46">
                  <c:v>50.82177351579076</c:v>
                </c:pt>
                <c:pt idx="47">
                  <c:v>50.315192469763346</c:v>
                </c:pt>
                <c:pt idx="48">
                  <c:v>50.182124971986219</c:v>
                </c:pt>
                <c:pt idx="49">
                  <c:v>50.253386941668218</c:v>
                </c:pt>
                <c:pt idx="50">
                  <c:v>50.446592101085329</c:v>
                </c:pt>
                <c:pt idx="51">
                  <c:v>50.938384794158836</c:v>
                </c:pt>
                <c:pt idx="52">
                  <c:v>51.477762849228995</c:v>
                </c:pt>
                <c:pt idx="53">
                  <c:v>52.173609917639936</c:v>
                </c:pt>
                <c:pt idx="54">
                  <c:v>52.995091699228169</c:v>
                </c:pt>
                <c:pt idx="55">
                  <c:v>53.913669359427544</c:v>
                </c:pt>
                <c:pt idx="56">
                  <c:v>55.014189384211207</c:v>
                </c:pt>
                <c:pt idx="57">
                  <c:v>56.148138431959595</c:v>
                </c:pt>
                <c:pt idx="58">
                  <c:v>57.407308517132549</c:v>
                </c:pt>
                <c:pt idx="59">
                  <c:v>58.720502742872846</c:v>
                </c:pt>
                <c:pt idx="60">
                  <c:v>60.132998056213999</c:v>
                </c:pt>
                <c:pt idx="61">
                  <c:v>61.617678502153844</c:v>
                </c:pt>
                <c:pt idx="62">
                  <c:v>63.141068898188834</c:v>
                </c:pt>
                <c:pt idx="63">
                  <c:v>64.726405384459369</c:v>
                </c:pt>
                <c:pt idx="64">
                  <c:v>66.372072650262737</c:v>
                </c:pt>
                <c:pt idx="65">
                  <c:v>68.093681626325107</c:v>
                </c:pt>
                <c:pt idx="66">
                  <c:v>69.856440861780797</c:v>
                </c:pt>
                <c:pt idx="67">
                  <c:v>71.686767467435573</c:v>
                </c:pt>
                <c:pt idx="68">
                  <c:v>73.572830877917298</c:v>
                </c:pt>
                <c:pt idx="69">
                  <c:v>75.494615038341792</c:v>
                </c:pt>
                <c:pt idx="70">
                  <c:v>77.466152828732874</c:v>
                </c:pt>
                <c:pt idx="71">
                  <c:v>79.491869785700302</c:v>
                </c:pt>
                <c:pt idx="72">
                  <c:v>81.571774725550426</c:v>
                </c:pt>
                <c:pt idx="73">
                  <c:v>83.696452605850681</c:v>
                </c:pt>
                <c:pt idx="74">
                  <c:v>85.856845224692009</c:v>
                </c:pt>
                <c:pt idx="75">
                  <c:v>88.091995235457929</c:v>
                </c:pt>
                <c:pt idx="76">
                  <c:v>90.348452893665652</c:v>
                </c:pt>
                <c:pt idx="77">
                  <c:v>92.675103056969334</c:v>
                </c:pt>
                <c:pt idx="78">
                  <c:v>95.040508858769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9</c:v>
                </c:pt>
                <c:pt idx="2">
                  <c:v>9</c:v>
                </c:pt>
                <c:pt idx="3">
                  <c:v>7</c:v>
                </c:pt>
                <c:pt idx="4">
                  <c:v>8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6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5</c:v>
                </c:pt>
                <c:pt idx="18">
                  <c:v>8</c:v>
                </c:pt>
                <c:pt idx="19">
                  <c:v>6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3</c:v>
                </c:pt>
                <c:pt idx="29">
                  <c:v>4</c:v>
                </c:pt>
                <c:pt idx="30">
                  <c:v>4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.4717027916847201</c:v>
                </c:pt>
                <c:pt idx="32">
                  <c:v>3.2018296397265091</c:v>
                </c:pt>
                <c:pt idx="33">
                  <c:v>2.9512833530605675</c:v>
                </c:pt>
                <c:pt idx="34">
                  <c:v>2.7117574177975632</c:v>
                </c:pt>
                <c:pt idx="35">
                  <c:v>2.4886971154489017</c:v>
                </c:pt>
                <c:pt idx="36">
                  <c:v>2.2859142104387788</c:v>
                </c:pt>
                <c:pt idx="37">
                  <c:v>2.0966185529868433</c:v>
                </c:pt>
                <c:pt idx="38">
                  <c:v>1.918889352921118</c:v>
                </c:pt>
                <c:pt idx="39">
                  <c:v>1.7529226479783335</c:v>
                </c:pt>
                <c:pt idx="40">
                  <c:v>1.597051514039924</c:v>
                </c:pt>
                <c:pt idx="41">
                  <c:v>1.448705350604174</c:v>
                </c:pt>
                <c:pt idx="42">
                  <c:v>1.3115091933722496</c:v>
                </c:pt>
                <c:pt idx="43">
                  <c:v>1.1874015228265689</c:v>
                </c:pt>
                <c:pt idx="44">
                  <c:v>1.0685059444229339</c:v>
                </c:pt>
                <c:pt idx="45">
                  <c:v>0.95786087321629465</c:v>
                </c:pt>
                <c:pt idx="46">
                  <c:v>0.85468625014601207</c:v>
                </c:pt>
                <c:pt idx="47">
                  <c:v>0.75345531125342335</c:v>
                </c:pt>
                <c:pt idx="48">
                  <c:v>0.66202707027802288</c:v>
                </c:pt>
                <c:pt idx="49">
                  <c:v>0.57573213531582801</c:v>
                </c:pt>
                <c:pt idx="50">
                  <c:v>0.49238614262107078</c:v>
                </c:pt>
                <c:pt idx="51">
                  <c:v>0.41782438662699867</c:v>
                </c:pt>
                <c:pt idx="52">
                  <c:v>0.34470388683124509</c:v>
                </c:pt>
                <c:pt idx="53">
                  <c:v>0.2762290240745961</c:v>
                </c:pt>
                <c:pt idx="54">
                  <c:v>0.21144542395791469</c:v>
                </c:pt>
                <c:pt idx="55">
                  <c:v>0.14990038968578051</c:v>
                </c:pt>
                <c:pt idx="56">
                  <c:v>9.4329145546781734E-2</c:v>
                </c:pt>
                <c:pt idx="57">
                  <c:v>4.024361088803246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.4758147329690985</c:v>
                </c:pt>
                <c:pt idx="32">
                  <c:v>3.2132972830443407</c:v>
                </c:pt>
                <c:pt idx="33">
                  <c:v>2.9725679753999268</c:v>
                </c:pt>
                <c:pt idx="34">
                  <c:v>2.744756753584173</c:v>
                </c:pt>
                <c:pt idx="35">
                  <c:v>2.5355653145737582</c:v>
                </c:pt>
                <c:pt idx="36">
                  <c:v>2.3492518708580201</c:v>
                </c:pt>
                <c:pt idx="37">
                  <c:v>2.1795172854040574</c:v>
                </c:pt>
                <c:pt idx="38">
                  <c:v>2.0243008072690776</c:v>
                </c:pt>
                <c:pt idx="39">
                  <c:v>1.8830900851039631</c:v>
                </c:pt>
                <c:pt idx="40">
                  <c:v>1.7538247073986226</c:v>
                </c:pt>
                <c:pt idx="41">
                  <c:v>1.6335713511854717</c:v>
                </c:pt>
                <c:pt idx="42">
                  <c:v>1.525952678716632</c:v>
                </c:pt>
                <c:pt idx="43">
                  <c:v>1.4327426163613135</c:v>
                </c:pt>
                <c:pt idx="44">
                  <c:v>1.3456081653513483</c:v>
                </c:pt>
                <c:pt idx="45">
                  <c:v>1.2671719910570682</c:v>
                </c:pt>
                <c:pt idx="46">
                  <c:v>1.1961375350249444</c:v>
                </c:pt>
                <c:pt idx="47">
                  <c:v>1.126787010571844</c:v>
                </c:pt>
                <c:pt idx="48">
                  <c:v>1.0668808354976567</c:v>
                </c:pt>
                <c:pt idx="49">
                  <c:v>1.0114120742402914</c:v>
                </c:pt>
                <c:pt idx="50">
                  <c:v>0.9580126870695751</c:v>
                </c:pt>
                <c:pt idx="51">
                  <c:v>0.91250964982501892</c:v>
                </c:pt>
                <c:pt idx="52">
                  <c:v>0.86723829658577567</c:v>
                </c:pt>
                <c:pt idx="53">
                  <c:v>0.825291668287498</c:v>
                </c:pt>
                <c:pt idx="54">
                  <c:v>0.78577735705967033</c:v>
                </c:pt>
                <c:pt idx="55">
                  <c:v>0.74812844900089481</c:v>
                </c:pt>
                <c:pt idx="56">
                  <c:v>0.71505843989271312</c:v>
                </c:pt>
                <c:pt idx="57">
                  <c:v>0.68198388308702929</c:v>
                </c:pt>
                <c:pt idx="58">
                  <c:v>0.65183435937236556</c:v>
                </c:pt>
                <c:pt idx="59">
                  <c:v>0.62247211246828127</c:v>
                </c:pt>
                <c:pt idx="60">
                  <c:v>0.59504921060210103</c:v>
                </c:pt>
                <c:pt idx="61">
                  <c:v>0.56911265530069233</c:v>
                </c:pt>
                <c:pt idx="62">
                  <c:v>0.54336701085854022</c:v>
                </c:pt>
                <c:pt idx="63">
                  <c:v>0.51860183479855793</c:v>
                </c:pt>
                <c:pt idx="64">
                  <c:v>0.4949428202406152</c:v>
                </c:pt>
                <c:pt idx="65">
                  <c:v>0.47281304763103882</c:v>
                </c:pt>
                <c:pt idx="66">
                  <c:v>0.45090308074090102</c:v>
                </c:pt>
                <c:pt idx="67">
                  <c:v>0.43025145804907033</c:v>
                </c:pt>
                <c:pt idx="68">
                  <c:v>0.41045364085802177</c:v>
                </c:pt>
                <c:pt idx="69">
                  <c:v>0.39092012990883979</c:v>
                </c:pt>
                <c:pt idx="70">
                  <c:v>0.3720250146133629</c:v>
                </c:pt>
                <c:pt idx="71">
                  <c:v>0.3538312780272202</c:v>
                </c:pt>
                <c:pt idx="72">
                  <c:v>0.33656052578706319</c:v>
                </c:pt>
                <c:pt idx="73">
                  <c:v>0.31953022997283759</c:v>
                </c:pt>
                <c:pt idx="74">
                  <c:v>0.30258916858467699</c:v>
                </c:pt>
                <c:pt idx="75">
                  <c:v>0.28706190312361413</c:v>
                </c:pt>
                <c:pt idx="76">
                  <c:v>0.27116798843414125</c:v>
                </c:pt>
                <c:pt idx="77">
                  <c:v>0.25646256542678886</c:v>
                </c:pt>
                <c:pt idx="78">
                  <c:v>0.24179048593669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.4799266742534769</c:v>
                </c:pt>
                <c:pt idx="32">
                  <c:v>3.2248791469534059</c:v>
                </c:pt>
                <c:pt idx="33">
                  <c:v>2.9939998125001543</c:v>
                </c:pt>
                <c:pt idx="34">
                  <c:v>2.7778124001130164</c:v>
                </c:pt>
                <c:pt idx="35">
                  <c:v>2.5829338294757913</c:v>
                </c:pt>
                <c:pt idx="36">
                  <c:v>2.4142445668372212</c:v>
                </c:pt>
                <c:pt idx="37">
                  <c:v>2.266168724672037</c:v>
                </c:pt>
                <c:pt idx="38">
                  <c:v>2.136875326671805</c:v>
                </c:pt>
                <c:pt idx="39">
                  <c:v>2.0248627405602302</c:v>
                </c:pt>
                <c:pt idx="40">
                  <c:v>1.9276806810084945</c:v>
                </c:pt>
                <c:pt idx="41">
                  <c:v>1.8426583283689224</c:v>
                </c:pt>
                <c:pt idx="42">
                  <c:v>1.7737238705340852</c:v>
                </c:pt>
                <c:pt idx="43">
                  <c:v>1.7227453946739482</c:v>
                </c:pt>
                <c:pt idx="44">
                  <c:v>1.6808587590394302</c:v>
                </c:pt>
                <c:pt idx="45">
                  <c:v>1.6504047062345801</c:v>
                </c:pt>
                <c:pt idx="46">
                  <c:v>1.6295950761677656</c:v>
                </c:pt>
                <c:pt idx="47">
                  <c:v>1.6128959643182976</c:v>
                </c:pt>
                <c:pt idx="48">
                  <c:v>1.6079424765487471</c:v>
                </c:pt>
                <c:pt idx="49">
                  <c:v>1.6096053145095222</c:v>
                </c:pt>
                <c:pt idx="50">
                  <c:v>1.6153602033329706</c:v>
                </c:pt>
                <c:pt idx="51">
                  <c:v>1.6305546371907653</c:v>
                </c:pt>
                <c:pt idx="52">
                  <c:v>1.6473610375276611</c:v>
                </c:pt>
                <c:pt idx="53">
                  <c:v>1.6690567958819318</c:v>
                </c:pt>
                <c:pt idx="54">
                  <c:v>1.6946955451451329</c:v>
                </c:pt>
                <c:pt idx="55">
                  <c:v>1.7235244373207372</c:v>
                </c:pt>
                <c:pt idx="56">
                  <c:v>1.7580348894795901</c:v>
                </c:pt>
                <c:pt idx="57">
                  <c:v>1.7937333545904091</c:v>
                </c:pt>
                <c:pt idx="58">
                  <c:v>1.8333878358209776</c:v>
                </c:pt>
                <c:pt idx="59">
                  <c:v>1.8747943788960806</c:v>
                </c:pt>
                <c:pt idx="60">
                  <c:v>1.9192541569367176</c:v>
                </c:pt>
                <c:pt idx="61">
                  <c:v>1.966075100767336</c:v>
                </c:pt>
                <c:pt idx="62">
                  <c:v>2.0141027037906456</c:v>
                </c:pt>
                <c:pt idx="63">
                  <c:v>2.064023228960159</c:v>
                </c:pt>
                <c:pt idx="64">
                  <c:v>2.1160154017718003</c:v>
                </c:pt>
                <c:pt idx="65">
                  <c:v>2.1703713062647889</c:v>
                </c:pt>
                <c:pt idx="66">
                  <c:v>2.225966819227243</c:v>
                </c:pt>
                <c:pt idx="67">
                  <c:v>2.2837394005775713</c:v>
                </c:pt>
                <c:pt idx="68">
                  <c:v>2.3432503663502118</c:v>
                </c:pt>
                <c:pt idx="69">
                  <c:v>2.4038771882247718</c:v>
                </c:pt>
                <c:pt idx="70">
                  <c:v>2.4660717139619779</c:v>
                </c:pt>
                <c:pt idx="71">
                  <c:v>2.5299998611706771</c:v>
                </c:pt>
                <c:pt idx="72">
                  <c:v>2.5956862842846484</c:v>
                </c:pt>
                <c:pt idx="73">
                  <c:v>2.6627245671359749</c:v>
                </c:pt>
                <c:pt idx="74">
                  <c:v>2.7308894090615485</c:v>
                </c:pt>
                <c:pt idx="75">
                  <c:v>2.8013709711975254</c:v>
                </c:pt>
                <c:pt idx="76">
                  <c:v>2.8725690459468529</c:v>
                </c:pt>
                <c:pt idx="77">
                  <c:v>2.9459504488600423</c:v>
                </c:pt>
                <c:pt idx="78">
                  <c:v>3.0205467656825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22</c:v>
                </c:pt>
                <c:pt idx="2">
                  <c:v>21</c:v>
                </c:pt>
                <c:pt idx="3">
                  <c:v>17</c:v>
                </c:pt>
                <c:pt idx="4">
                  <c:v>15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13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1</c:v>
                </c:pt>
                <c:pt idx="19">
                  <c:v>7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5</c:v>
                </c:pt>
                <c:pt idx="25">
                  <c:v>6</c:v>
                </c:pt>
                <c:pt idx="26">
                  <c:v>4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4</c:v>
                </c:pt>
                <c:pt idx="1">
                  <c:v>87</c:v>
                </c:pt>
                <c:pt idx="2">
                  <c:v>84</c:v>
                </c:pt>
                <c:pt idx="3">
                  <c:v>81</c:v>
                </c:pt>
                <c:pt idx="4">
                  <c:v>80</c:v>
                </c:pt>
                <c:pt idx="5">
                  <c:v>83</c:v>
                </c:pt>
                <c:pt idx="6">
                  <c:v>80</c:v>
                </c:pt>
                <c:pt idx="7">
                  <c:v>75</c:v>
                </c:pt>
                <c:pt idx="8">
                  <c:v>79</c:v>
                </c:pt>
                <c:pt idx="9">
                  <c:v>84</c:v>
                </c:pt>
                <c:pt idx="10">
                  <c:v>76</c:v>
                </c:pt>
                <c:pt idx="11">
                  <c:v>69</c:v>
                </c:pt>
                <c:pt idx="12">
                  <c:v>66</c:v>
                </c:pt>
                <c:pt idx="13">
                  <c:v>59</c:v>
                </c:pt>
                <c:pt idx="14">
                  <c:v>51</c:v>
                </c:pt>
                <c:pt idx="15">
                  <c:v>49</c:v>
                </c:pt>
                <c:pt idx="16">
                  <c:v>47</c:v>
                </c:pt>
                <c:pt idx="17">
                  <c:v>44</c:v>
                </c:pt>
                <c:pt idx="18">
                  <c:v>39</c:v>
                </c:pt>
                <c:pt idx="19">
                  <c:v>38</c:v>
                </c:pt>
                <c:pt idx="20">
                  <c:v>33</c:v>
                </c:pt>
                <c:pt idx="21">
                  <c:v>30</c:v>
                </c:pt>
                <c:pt idx="22">
                  <c:v>31</c:v>
                </c:pt>
                <c:pt idx="23">
                  <c:v>28</c:v>
                </c:pt>
                <c:pt idx="24">
                  <c:v>26</c:v>
                </c:pt>
                <c:pt idx="25">
                  <c:v>27</c:v>
                </c:pt>
                <c:pt idx="26">
                  <c:v>30</c:v>
                </c:pt>
                <c:pt idx="27">
                  <c:v>25</c:v>
                </c:pt>
                <c:pt idx="28">
                  <c:v>23</c:v>
                </c:pt>
                <c:pt idx="29">
                  <c:v>23</c:v>
                </c:pt>
                <c:pt idx="30">
                  <c:v>22</c:v>
                </c:pt>
                <c:pt idx="31">
                  <c:v>17</c:v>
                </c:pt>
                <c:pt idx="32">
                  <c:v>15</c:v>
                </c:pt>
                <c:pt idx="33">
                  <c:v>15</c:v>
                </c:pt>
                <c:pt idx="34">
                  <c:v>14</c:v>
                </c:pt>
                <c:pt idx="35">
                  <c:v>12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0</c:v>
                </c:pt>
                <c:pt idx="40">
                  <c:v>10</c:v>
                </c:pt>
                <c:pt idx="41">
                  <c:v>7</c:v>
                </c:pt>
                <c:pt idx="42">
                  <c:v>8</c:v>
                </c:pt>
                <c:pt idx="43">
                  <c:v>7</c:v>
                </c:pt>
                <c:pt idx="44">
                  <c:v>6</c:v>
                </c:pt>
                <c:pt idx="45">
                  <c:v>2</c:v>
                </c:pt>
                <c:pt idx="46">
                  <c:v>1</c:v>
                </c:pt>
                <c:pt idx="47">
                  <c:v>1E-3</c:v>
                </c:pt>
                <c:pt idx="48">
                  <c:v>1</c:v>
                </c:pt>
                <c:pt idx="49">
                  <c:v>2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2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9.776814998128597</c:v>
                </c:pt>
                <c:pt idx="32">
                  <c:v>18.237996868928164</c:v>
                </c:pt>
                <c:pt idx="33">
                  <c:v>16.809534180826208</c:v>
                </c:pt>
                <c:pt idx="34">
                  <c:v>15.442402356971545</c:v>
                </c:pt>
                <c:pt idx="35">
                  <c:v>14.169038867483774</c:v>
                </c:pt>
                <c:pt idx="36">
                  <c:v>13.011401996268759</c:v>
                </c:pt>
                <c:pt idx="37">
                  <c:v>11.930553982004163</c:v>
                </c:pt>
                <c:pt idx="38">
                  <c:v>10.915734128335057</c:v>
                </c:pt>
                <c:pt idx="39">
                  <c:v>9.9682476312172508</c:v>
                </c:pt>
                <c:pt idx="40">
                  <c:v>9.0779097346609117</c:v>
                </c:pt>
                <c:pt idx="41">
                  <c:v>8.230060291853345</c:v>
                </c:pt>
                <c:pt idx="42">
                  <c:v>7.4459573613678147</c:v>
                </c:pt>
                <c:pt idx="43">
                  <c:v>6.7365530330950847</c:v>
                </c:pt>
                <c:pt idx="44">
                  <c:v>6.0555094460238532</c:v>
                </c:pt>
                <c:pt idx="45">
                  <c:v>5.4219697692077702</c:v>
                </c:pt>
                <c:pt idx="46">
                  <c:v>4.8315996746529866</c:v>
                </c:pt>
                <c:pt idx="47">
                  <c:v>4.2514845054313728</c:v>
                </c:pt>
                <c:pt idx="48">
                  <c:v>3.7279106258678079</c:v>
                </c:pt>
                <c:pt idx="49">
                  <c:v>3.2332090686390003</c:v>
                </c:pt>
                <c:pt idx="50">
                  <c:v>2.7545163549911829</c:v>
                </c:pt>
                <c:pt idx="51">
                  <c:v>2.3262792522449347</c:v>
                </c:pt>
                <c:pt idx="52">
                  <c:v>1.9058750430245024</c:v>
                </c:pt>
                <c:pt idx="53">
                  <c:v>1.5123563726817344</c:v>
                </c:pt>
                <c:pt idx="54">
                  <c:v>1.1401362890410729</c:v>
                </c:pt>
                <c:pt idx="55">
                  <c:v>0.78606200669264492</c:v>
                </c:pt>
                <c:pt idx="56">
                  <c:v>0.46657702076214735</c:v>
                </c:pt>
                <c:pt idx="57">
                  <c:v>0.1551300743101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9.800387376017326</c:v>
                </c:pt>
                <c:pt idx="32">
                  <c:v>18.303724582500465</c:v>
                </c:pt>
                <c:pt idx="33">
                  <c:v>16.931547380279682</c:v>
                </c:pt>
                <c:pt idx="34">
                  <c:v>15.631602491360704</c:v>
                </c:pt>
                <c:pt idx="35">
                  <c:v>14.437805783468125</c:v>
                </c:pt>
                <c:pt idx="36">
                  <c:v>13.374695053275993</c:v>
                </c:pt>
                <c:pt idx="37">
                  <c:v>12.40617486390471</c:v>
                </c:pt>
                <c:pt idx="38">
                  <c:v>11.520687655191372</c:v>
                </c:pt>
                <c:pt idx="39">
                  <c:v>10.715479877827665</c:v>
                </c:pt>
                <c:pt idx="40">
                  <c:v>9.9781232293179318</c:v>
                </c:pt>
                <c:pt idx="41">
                  <c:v>9.291869148821279</c:v>
                </c:pt>
                <c:pt idx="42">
                  <c:v>8.6779424140600501</c:v>
                </c:pt>
                <c:pt idx="43">
                  <c:v>8.1463509951702253</c:v>
                </c:pt>
                <c:pt idx="44">
                  <c:v>7.6481281923748661</c:v>
                </c:pt>
                <c:pt idx="45">
                  <c:v>7.2000371164622123</c:v>
                </c:pt>
                <c:pt idx="46">
                  <c:v>6.7947609076550588</c:v>
                </c:pt>
                <c:pt idx="47">
                  <c:v>6.3982777370300052</c:v>
                </c:pt>
                <c:pt idx="48">
                  <c:v>6.0563019053217761</c:v>
                </c:pt>
                <c:pt idx="49">
                  <c:v>5.7392219201752024</c:v>
                </c:pt>
                <c:pt idx="50">
                  <c:v>5.4331181689845938</c:v>
                </c:pt>
                <c:pt idx="51">
                  <c:v>5.1723796841464997</c:v>
                </c:pt>
                <c:pt idx="52">
                  <c:v>4.9125303906853457</c:v>
                </c:pt>
                <c:pt idx="53">
                  <c:v>4.6719811756050289</c:v>
                </c:pt>
                <c:pt idx="54">
                  <c:v>4.4454957538919579</c:v>
                </c:pt>
                <c:pt idx="55">
                  <c:v>4.2292578345165017</c:v>
                </c:pt>
                <c:pt idx="56">
                  <c:v>4.0395838529309396</c:v>
                </c:pt>
                <c:pt idx="57">
                  <c:v>3.8493720834445235</c:v>
                </c:pt>
                <c:pt idx="58">
                  <c:v>3.6759718462507855</c:v>
                </c:pt>
                <c:pt idx="59">
                  <c:v>3.5069127580188235</c:v>
                </c:pt>
                <c:pt idx="60">
                  <c:v>3.3493085421652009</c:v>
                </c:pt>
                <c:pt idx="61">
                  <c:v>3.1999366734306576</c:v>
                </c:pt>
                <c:pt idx="62">
                  <c:v>3.0517087383070658</c:v>
                </c:pt>
                <c:pt idx="63">
                  <c:v>2.9093479998479208</c:v>
                </c:pt>
                <c:pt idx="64">
                  <c:v>2.7727244818736319</c:v>
                </c:pt>
                <c:pt idx="65">
                  <c:v>2.6450201405593332</c:v>
                </c:pt>
                <c:pt idx="66">
                  <c:v>2.5187955517703164</c:v>
                </c:pt>
                <c:pt idx="67">
                  <c:v>2.3996413716135647</c:v>
                </c:pt>
                <c:pt idx="68">
                  <c:v>2.2854712084942284</c:v>
                </c:pt>
                <c:pt idx="69">
                  <c:v>2.1728578045646647</c:v>
                </c:pt>
                <c:pt idx="70">
                  <c:v>2.0639248222009057</c:v>
                </c:pt>
                <c:pt idx="71">
                  <c:v>1.9589385811372524</c:v>
                </c:pt>
                <c:pt idx="72">
                  <c:v>1.8590771897548022</c:v>
                </c:pt>
                <c:pt idx="73">
                  <c:v>1.7608254233915608</c:v>
                </c:pt>
                <c:pt idx="74">
                  <c:v>1.663087367466594</c:v>
                </c:pt>
                <c:pt idx="75">
                  <c:v>1.5736401883237312</c:v>
                </c:pt>
                <c:pt idx="76">
                  <c:v>1.4819127082003651</c:v>
                </c:pt>
                <c:pt idx="77">
                  <c:v>1.3971416814893949</c:v>
                </c:pt>
                <c:pt idx="78">
                  <c:v>1.312590731829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9.823959753906053</c:v>
                </c:pt>
                <c:pt idx="32">
                  <c:v>18.370107084347456</c:v>
                </c:pt>
                <c:pt idx="33">
                  <c:v>17.054404167142579</c:v>
                </c:pt>
                <c:pt idx="34">
                  <c:v>15.821125832420714</c:v>
                </c:pt>
                <c:pt idx="35">
                  <c:v>14.709441920312148</c:v>
                </c:pt>
                <c:pt idx="36">
                  <c:v>13.747475369626962</c:v>
                </c:pt>
                <c:pt idx="37">
                  <c:v>12.903308817294135</c:v>
                </c:pt>
                <c:pt idx="38">
                  <c:v>12.166708438229993</c:v>
                </c:pt>
                <c:pt idx="39">
                  <c:v>11.529253203267881</c:v>
                </c:pt>
                <c:pt idx="40">
                  <c:v>10.976300205568014</c:v>
                </c:pt>
                <c:pt idx="41">
                  <c:v>10.492602774494472</c:v>
                </c:pt>
                <c:pt idx="42">
                  <c:v>10.101121554772018</c:v>
                </c:pt>
                <c:pt idx="43">
                  <c:v>9.8124129794075436</c:v>
                </c:pt>
                <c:pt idx="44">
                  <c:v>9.5744632327151606</c:v>
                </c:pt>
                <c:pt idx="45">
                  <c:v>9.4024273095223396</c:v>
                </c:pt>
                <c:pt idx="46">
                  <c:v>9.2861515976099671</c:v>
                </c:pt>
                <c:pt idx="47">
                  <c:v>9.192664453441644</c:v>
                </c:pt>
                <c:pt idx="48">
                  <c:v>9.1669567873473063</c:v>
                </c:pt>
                <c:pt idx="49">
                  <c:v>9.1787151314067614</c:v>
                </c:pt>
                <c:pt idx="50">
                  <c:v>9.2131241892445974</c:v>
                </c:pt>
                <c:pt idx="51">
                  <c:v>9.3018179159646515</c:v>
                </c:pt>
                <c:pt idx="52">
                  <c:v>9.3993812643036652</c:v>
                </c:pt>
                <c:pt idx="53">
                  <c:v>9.5252752525415598</c:v>
                </c:pt>
                <c:pt idx="54">
                  <c:v>9.6739517474096122</c:v>
                </c:pt>
                <c:pt idx="55">
                  <c:v>9.840525400377679</c:v>
                </c:pt>
                <c:pt idx="56">
                  <c:v>10.040034262086369</c:v>
                </c:pt>
                <c:pt idx="57">
                  <c:v>10.245886917487546</c:v>
                </c:pt>
                <c:pt idx="58">
                  <c:v>10.474499845299343</c:v>
                </c:pt>
                <c:pt idx="59">
                  <c:v>10.713024209274145</c:v>
                </c:pt>
                <c:pt idx="60">
                  <c:v>10.969427325102632</c:v>
                </c:pt>
                <c:pt idx="61">
                  <c:v>11.239114587104751</c:v>
                </c:pt>
                <c:pt idx="62">
                  <c:v>11.515804769244408</c:v>
                </c:pt>
                <c:pt idx="63">
                  <c:v>11.803624245179071</c:v>
                </c:pt>
                <c:pt idx="64">
                  <c:v>12.102745685979567</c:v>
                </c:pt>
                <c:pt idx="65">
                  <c:v>12.415598430516791</c:v>
                </c:pt>
                <c:pt idx="66">
                  <c:v>12.735808058053028</c:v>
                </c:pt>
                <c:pt idx="67">
                  <c:v>13.06838495616455</c:v>
                </c:pt>
                <c:pt idx="68">
                  <c:v>13.411047023230406</c:v>
                </c:pt>
                <c:pt idx="69">
                  <c:v>13.760176062966954</c:v>
                </c:pt>
                <c:pt idx="70">
                  <c:v>14.118339987597293</c:v>
                </c:pt>
                <c:pt idx="71">
                  <c:v>14.486396163634645</c:v>
                </c:pt>
                <c:pt idx="72">
                  <c:v>14.864395662289486</c:v>
                </c:pt>
                <c:pt idx="73">
                  <c:v>15.250406045758382</c:v>
                </c:pt>
                <c:pt idx="74">
                  <c:v>15.642904415412204</c:v>
                </c:pt>
                <c:pt idx="75">
                  <c:v>16.048899351601793</c:v>
                </c:pt>
                <c:pt idx="76">
                  <c:v>16.458855168970452</c:v>
                </c:pt>
                <c:pt idx="77">
                  <c:v>16.881499799977068</c:v>
                </c:pt>
                <c:pt idx="78">
                  <c:v>17.311169478446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5</c:v>
                </c:pt>
                <c:pt idx="1">
                  <c:v>42</c:v>
                </c:pt>
                <c:pt idx="2">
                  <c:v>46</c:v>
                </c:pt>
                <c:pt idx="3">
                  <c:v>45</c:v>
                </c:pt>
                <c:pt idx="4">
                  <c:v>40</c:v>
                </c:pt>
                <c:pt idx="5">
                  <c:v>35</c:v>
                </c:pt>
                <c:pt idx="6">
                  <c:v>36</c:v>
                </c:pt>
                <c:pt idx="7">
                  <c:v>29</c:v>
                </c:pt>
                <c:pt idx="8">
                  <c:v>25</c:v>
                </c:pt>
                <c:pt idx="9">
                  <c:v>24</c:v>
                </c:pt>
                <c:pt idx="10">
                  <c:v>21</c:v>
                </c:pt>
                <c:pt idx="11">
                  <c:v>22</c:v>
                </c:pt>
                <c:pt idx="12">
                  <c:v>20</c:v>
                </c:pt>
                <c:pt idx="13">
                  <c:v>21</c:v>
                </c:pt>
                <c:pt idx="14">
                  <c:v>19</c:v>
                </c:pt>
                <c:pt idx="15">
                  <c:v>18</c:v>
                </c:pt>
                <c:pt idx="16">
                  <c:v>18</c:v>
                </c:pt>
                <c:pt idx="17">
                  <c:v>17</c:v>
                </c:pt>
                <c:pt idx="18">
                  <c:v>17</c:v>
                </c:pt>
                <c:pt idx="19">
                  <c:v>16</c:v>
                </c:pt>
                <c:pt idx="20">
                  <c:v>14</c:v>
                </c:pt>
                <c:pt idx="21">
                  <c:v>13</c:v>
                </c:pt>
                <c:pt idx="22">
                  <c:v>13</c:v>
                </c:pt>
                <c:pt idx="23">
                  <c:v>11</c:v>
                </c:pt>
                <c:pt idx="24">
                  <c:v>9</c:v>
                </c:pt>
                <c:pt idx="25">
                  <c:v>8</c:v>
                </c:pt>
                <c:pt idx="26">
                  <c:v>8</c:v>
                </c:pt>
                <c:pt idx="27">
                  <c:v>6</c:v>
                </c:pt>
                <c:pt idx="28">
                  <c:v>8</c:v>
                </c:pt>
                <c:pt idx="29">
                  <c:v>8</c:v>
                </c:pt>
                <c:pt idx="30">
                  <c:v>9</c:v>
                </c:pt>
                <c:pt idx="31">
                  <c:v>9</c:v>
                </c:pt>
                <c:pt idx="32">
                  <c:v>6</c:v>
                </c:pt>
                <c:pt idx="33">
                  <c:v>5</c:v>
                </c:pt>
                <c:pt idx="34">
                  <c:v>5</c:v>
                </c:pt>
                <c:pt idx="35">
                  <c:v>4</c:v>
                </c:pt>
                <c:pt idx="36">
                  <c:v>4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3</c:v>
                </c:pt>
                <c:pt idx="45">
                  <c:v>3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.2983957756994595</c:v>
                </c:pt>
                <c:pt idx="32">
                  <c:v>7.6491669157236331</c:v>
                </c:pt>
                <c:pt idx="33">
                  <c:v>7.0468674077581266</c:v>
                </c:pt>
                <c:pt idx="34">
                  <c:v>6.4668088500362177</c:v>
                </c:pt>
                <c:pt idx="35">
                  <c:v>5.9260247871149598</c:v>
                </c:pt>
                <c:pt idx="36">
                  <c:v>5.4343185958949443</c:v>
                </c:pt>
                <c:pt idx="37">
                  <c:v>4.9747311787760342</c:v>
                </c:pt>
                <c:pt idx="38">
                  <c:v>4.5431847609506217</c:v>
                </c:pt>
                <c:pt idx="39">
                  <c:v>4.1406818787467916</c:v>
                </c:pt>
                <c:pt idx="40">
                  <c:v>3.7612859301569666</c:v>
                </c:pt>
                <c:pt idx="41">
                  <c:v>3.3988055894437537</c:v>
                </c:pt>
                <c:pt idx="42">
                  <c:v>3.0636277816737092</c:v>
                </c:pt>
                <c:pt idx="43">
                  <c:v>2.7601293215707496</c:v>
                </c:pt>
                <c:pt idx="44">
                  <c:v>2.4653200279189105</c:v>
                </c:pt>
                <c:pt idx="45">
                  <c:v>2.1916606726979642</c:v>
                </c:pt>
                <c:pt idx="46">
                  <c:v>1.937596472009129</c:v>
                </c:pt>
                <c:pt idx="47">
                  <c:v>1.6858622356543167</c:v>
                </c:pt>
                <c:pt idx="48">
                  <c:v>1.4595412236359748</c:v>
                </c:pt>
                <c:pt idx="49">
                  <c:v>1.244442167217866</c:v>
                </c:pt>
                <c:pt idx="50">
                  <c:v>1.0341535447686281</c:v>
                </c:pt>
                <c:pt idx="51">
                  <c:v>0.84603923190608277</c:v>
                </c:pt>
                <c:pt idx="52">
                  <c:v>0.66030084463980276</c:v>
                </c:pt>
                <c:pt idx="53">
                  <c:v>0.48686064157255116</c:v>
                </c:pt>
                <c:pt idx="54">
                  <c:v>0.32301157286171384</c:v>
                </c:pt>
                <c:pt idx="55">
                  <c:v>0.16604532744967915</c:v>
                </c:pt>
                <c:pt idx="56">
                  <c:v>2.494247422450224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.3086449870573187</c:v>
                </c:pt>
                <c:pt idx="32">
                  <c:v>7.6777153418916289</c:v>
                </c:pt>
                <c:pt idx="33">
                  <c:v>7.0999079157101104</c:v>
                </c:pt>
                <c:pt idx="34">
                  <c:v>6.5491350304062834</c:v>
                </c:pt>
                <c:pt idx="35">
                  <c:v>6.0430933111038438</c:v>
                </c:pt>
                <c:pt idx="36">
                  <c:v>5.5927560933175329</c:v>
                </c:pt>
                <c:pt idx="37">
                  <c:v>5.1824661067575555</c:v>
                </c:pt>
                <c:pt idx="38">
                  <c:v>4.807812256425736</c:v>
                </c:pt>
                <c:pt idx="39">
                  <c:v>4.4680376503322297</c:v>
                </c:pt>
                <c:pt idx="40">
                  <c:v>4.1562594230030756</c:v>
                </c:pt>
                <c:pt idx="41">
                  <c:v>3.8653565095267197</c:v>
                </c:pt>
                <c:pt idx="42">
                  <c:v>3.605654174149783</c:v>
                </c:pt>
                <c:pt idx="43">
                  <c:v>3.3811168446809123</c:v>
                </c:pt>
                <c:pt idx="44">
                  <c:v>3.1675842714810827</c:v>
                </c:pt>
                <c:pt idx="45">
                  <c:v>2.9764902862749159</c:v>
                </c:pt>
                <c:pt idx="46">
                  <c:v>2.8049314650963488</c:v>
                </c:pt>
                <c:pt idx="47">
                  <c:v>2.6351321928888289</c:v>
                </c:pt>
                <c:pt idx="48">
                  <c:v>2.4899105769855896</c:v>
                </c:pt>
                <c:pt idx="49">
                  <c:v>2.354212753025732</c:v>
                </c:pt>
                <c:pt idx="50">
                  <c:v>2.2211603649163605</c:v>
                </c:pt>
                <c:pt idx="51">
                  <c:v>2.1080680866544048</c:v>
                </c:pt>
                <c:pt idx="52">
                  <c:v>1.9943095288873955</c:v>
                </c:pt>
                <c:pt idx="53">
                  <c:v>1.889519558594484</c:v>
                </c:pt>
                <c:pt idx="54">
                  <c:v>1.7911326431234138</c:v>
                </c:pt>
                <c:pt idx="55">
                  <c:v>1.6961310240344523</c:v>
                </c:pt>
                <c:pt idx="56">
                  <c:v>1.6134340347795235</c:v>
                </c:pt>
                <c:pt idx="57">
                  <c:v>1.5292758439794971</c:v>
                </c:pt>
                <c:pt idx="58">
                  <c:v>1.4525311230072</c:v>
                </c:pt>
                <c:pt idx="59">
                  <c:v>1.3772612679477998</c:v>
                </c:pt>
                <c:pt idx="60">
                  <c:v>1.3077808903558465</c:v>
                </c:pt>
                <c:pt idx="61">
                  <c:v>1.2411882310023434</c:v>
                </c:pt>
                <c:pt idx="62">
                  <c:v>1.1752116925650908</c:v>
                </c:pt>
                <c:pt idx="63">
                  <c:v>1.1123774377556037</c:v>
                </c:pt>
                <c:pt idx="64">
                  <c:v>1.0505889203334982</c:v>
                </c:pt>
                <c:pt idx="65">
                  <c:v>0.99304432665799314</c:v>
                </c:pt>
                <c:pt idx="66">
                  <c:v>0.93667003649517411</c:v>
                </c:pt>
                <c:pt idx="67">
                  <c:v>0.88302633806371622</c:v>
                </c:pt>
                <c:pt idx="68">
                  <c:v>0.83176419560251413</c:v>
                </c:pt>
                <c:pt idx="69">
                  <c:v>0.78127866002000224</c:v>
                </c:pt>
                <c:pt idx="70">
                  <c:v>0.73244304530215998</c:v>
                </c:pt>
                <c:pt idx="71">
                  <c:v>0.68514590701460376</c:v>
                </c:pt>
                <c:pt idx="72">
                  <c:v>0.63967814139982082</c:v>
                </c:pt>
                <c:pt idx="73">
                  <c:v>0.59546470414957253</c:v>
                </c:pt>
                <c:pt idx="74">
                  <c:v>0.55147980644937433</c:v>
                </c:pt>
                <c:pt idx="75">
                  <c:v>0.51154603230087736</c:v>
                </c:pt>
                <c:pt idx="76">
                  <c:v>0.47019283226492598</c:v>
                </c:pt>
                <c:pt idx="77">
                  <c:v>0.43220782293493876</c:v>
                </c:pt>
                <c:pt idx="78">
                  <c:v>0.39438789188752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.3188941984151796</c:v>
                </c:pt>
                <c:pt idx="32">
                  <c:v>7.7065484683751215</c:v>
                </c:pt>
                <c:pt idx="33">
                  <c:v>7.1533143850268512</c:v>
                </c:pt>
                <c:pt idx="34">
                  <c:v>6.6316026903047121</c:v>
                </c:pt>
                <c:pt idx="35">
                  <c:v>6.1614119522589537</c:v>
                </c:pt>
                <c:pt idx="36">
                  <c:v>5.7553174199312691</c:v>
                </c:pt>
                <c:pt idx="37">
                  <c:v>5.3995550180928777</c:v>
                </c:pt>
                <c:pt idx="38">
                  <c:v>5.0903048332476617</c:v>
                </c:pt>
                <c:pt idx="39">
                  <c:v>4.8243547265558302</c:v>
                </c:pt>
                <c:pt idx="40">
                  <c:v>4.5939078852425723</c:v>
                </c:pt>
                <c:pt idx="41">
                  <c:v>4.3924891793283205</c:v>
                </c:pt>
                <c:pt idx="42">
                  <c:v>4.2311411853437075</c:v>
                </c:pt>
                <c:pt idx="43">
                  <c:v>4.1140875982212526</c:v>
                </c:pt>
                <c:pt idx="44">
                  <c:v>4.0158378892341249</c:v>
                </c:pt>
                <c:pt idx="45">
                  <c:v>3.9471459995878173</c:v>
                </c:pt>
                <c:pt idx="46">
                  <c:v>3.9038305625881273</c:v>
                </c:pt>
                <c:pt idx="47">
                  <c:v>3.8685631087080692</c:v>
                </c:pt>
                <c:pt idx="48">
                  <c:v>3.8638351782721001</c:v>
                </c:pt>
                <c:pt idx="49">
                  <c:v>3.874286464479896</c:v>
                </c:pt>
                <c:pt idx="50">
                  <c:v>3.8926490736980117</c:v>
                </c:pt>
                <c:pt idx="51">
                  <c:v>3.9350245005268243</c:v>
                </c:pt>
                <c:pt idx="52">
                  <c:v>3.9803659828550444</c:v>
                </c:pt>
                <c:pt idx="53">
                  <c:v>4.0387489388245266</c:v>
                </c:pt>
                <c:pt idx="54">
                  <c:v>4.1074662052483237</c:v>
                </c:pt>
                <c:pt idx="55">
                  <c:v>4.1830276212432853</c:v>
                </c:pt>
                <c:pt idx="56">
                  <c:v>4.2737840122336808</c:v>
                </c:pt>
                <c:pt idx="57">
                  <c:v>4.3661793072632582</c:v>
                </c:pt>
                <c:pt idx="58">
                  <c:v>4.4686668191430297</c:v>
                </c:pt>
                <c:pt idx="59">
                  <c:v>4.5751458831223015</c:v>
                </c:pt>
                <c:pt idx="60">
                  <c:v>4.6902994299109242</c:v>
                </c:pt>
                <c:pt idx="61">
                  <c:v>4.8106253612459255</c:v>
                </c:pt>
                <c:pt idx="62">
                  <c:v>4.9342013357377823</c:v>
                </c:pt>
                <c:pt idx="63">
                  <c:v>5.0632826298051787</c:v>
                </c:pt>
                <c:pt idx="64">
                  <c:v>5.1959010025798484</c:v>
                </c:pt>
                <c:pt idx="65">
                  <c:v>5.3349234253233906</c:v>
                </c:pt>
                <c:pt idx="66">
                  <c:v>5.4777457334423154</c:v>
                </c:pt>
                <c:pt idx="67">
                  <c:v>5.6256739511912901</c:v>
                </c:pt>
                <c:pt idx="68">
                  <c:v>5.7782740285040699</c:v>
                </c:pt>
                <c:pt idx="69">
                  <c:v>5.9338541736490891</c:v>
                </c:pt>
                <c:pt idx="70">
                  <c:v>6.093477231215136</c:v>
                </c:pt>
                <c:pt idx="71">
                  <c:v>6.2572910392013483</c:v>
                </c:pt>
                <c:pt idx="72">
                  <c:v>6.4251013009062916</c:v>
                </c:pt>
                <c:pt idx="73">
                  <c:v>6.597020998195763</c:v>
                </c:pt>
                <c:pt idx="74">
                  <c:v>6.7718331357382819</c:v>
                </c:pt>
                <c:pt idx="75">
                  <c:v>6.9530306422391073</c:v>
                </c:pt>
                <c:pt idx="76">
                  <c:v>7.1355985969803877</c:v>
                </c:pt>
                <c:pt idx="77">
                  <c:v>7.3240974281094386</c:v>
                </c:pt>
                <c:pt idx="78">
                  <c:v>7.5157954941291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9</c:v>
                </c:pt>
                <c:pt idx="1">
                  <c:v>45</c:v>
                </c:pt>
                <c:pt idx="2">
                  <c:v>47</c:v>
                </c:pt>
                <c:pt idx="3">
                  <c:v>47</c:v>
                </c:pt>
                <c:pt idx="4">
                  <c:v>43</c:v>
                </c:pt>
                <c:pt idx="5">
                  <c:v>41</c:v>
                </c:pt>
                <c:pt idx="6">
                  <c:v>37</c:v>
                </c:pt>
                <c:pt idx="7">
                  <c:v>34</c:v>
                </c:pt>
                <c:pt idx="8">
                  <c:v>35</c:v>
                </c:pt>
                <c:pt idx="9">
                  <c:v>35</c:v>
                </c:pt>
                <c:pt idx="10">
                  <c:v>33</c:v>
                </c:pt>
                <c:pt idx="11">
                  <c:v>27</c:v>
                </c:pt>
                <c:pt idx="12">
                  <c:v>30</c:v>
                </c:pt>
                <c:pt idx="13">
                  <c:v>26</c:v>
                </c:pt>
                <c:pt idx="14">
                  <c:v>24</c:v>
                </c:pt>
                <c:pt idx="15">
                  <c:v>24</c:v>
                </c:pt>
                <c:pt idx="16">
                  <c:v>21</c:v>
                </c:pt>
                <c:pt idx="17">
                  <c:v>22</c:v>
                </c:pt>
                <c:pt idx="18">
                  <c:v>21</c:v>
                </c:pt>
                <c:pt idx="19">
                  <c:v>19</c:v>
                </c:pt>
                <c:pt idx="20">
                  <c:v>20</c:v>
                </c:pt>
                <c:pt idx="21">
                  <c:v>20</c:v>
                </c:pt>
                <c:pt idx="22">
                  <c:v>19</c:v>
                </c:pt>
                <c:pt idx="23">
                  <c:v>18</c:v>
                </c:pt>
                <c:pt idx="24">
                  <c:v>17</c:v>
                </c:pt>
                <c:pt idx="25">
                  <c:v>17</c:v>
                </c:pt>
                <c:pt idx="26">
                  <c:v>17</c:v>
                </c:pt>
                <c:pt idx="27">
                  <c:v>14</c:v>
                </c:pt>
                <c:pt idx="28">
                  <c:v>13</c:v>
                </c:pt>
                <c:pt idx="29">
                  <c:v>12</c:v>
                </c:pt>
                <c:pt idx="30">
                  <c:v>12</c:v>
                </c:pt>
                <c:pt idx="31">
                  <c:v>12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8</c:v>
                </c:pt>
                <c:pt idx="36">
                  <c:v>7</c:v>
                </c:pt>
                <c:pt idx="37">
                  <c:v>6</c:v>
                </c:pt>
                <c:pt idx="38">
                  <c:v>7</c:v>
                </c:pt>
                <c:pt idx="39">
                  <c:v>5</c:v>
                </c:pt>
                <c:pt idx="40">
                  <c:v>6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.044156266937074</c:v>
                </c:pt>
                <c:pt idx="32">
                  <c:v>9.2604418001810025</c:v>
                </c:pt>
                <c:pt idx="33">
                  <c:v>8.5331598606375962</c:v>
                </c:pt>
                <c:pt idx="34">
                  <c:v>7.8348666626638037</c:v>
                </c:pt>
                <c:pt idx="35">
                  <c:v>7.1841522536518818</c:v>
                </c:pt>
                <c:pt idx="36">
                  <c:v>6.5925332038078999</c:v>
                </c:pt>
                <c:pt idx="37">
                  <c:v>6.0398502636201599</c:v>
                </c:pt>
                <c:pt idx="38">
                  <c:v>5.520908756840611</c:v>
                </c:pt>
                <c:pt idx="39">
                  <c:v>5.0366527546186672</c:v>
                </c:pt>
                <c:pt idx="40">
                  <c:v>4.5808815999824724</c:v>
                </c:pt>
                <c:pt idx="41">
                  <c:v>4.1461251035712117</c:v>
                </c:pt>
                <c:pt idx="42">
                  <c:v>3.7440865790715074</c:v>
                </c:pt>
                <c:pt idx="43">
                  <c:v>3.3801931221643331</c:v>
                </c:pt>
                <c:pt idx="44">
                  <c:v>3.0287183644527689</c:v>
                </c:pt>
                <c:pt idx="45">
                  <c:v>2.7021221160770361</c:v>
                </c:pt>
                <c:pt idx="46">
                  <c:v>2.3983662230648704</c:v>
                </c:pt>
                <c:pt idx="47">
                  <c:v>2.098598865208646</c:v>
                </c:pt>
                <c:pt idx="48">
                  <c:v>1.8285911543724216</c:v>
                </c:pt>
                <c:pt idx="49">
                  <c:v>1.572694987093463</c:v>
                </c:pt>
                <c:pt idx="50">
                  <c:v>1.3237504977032639</c:v>
                </c:pt>
                <c:pt idx="51">
                  <c:v>1.1010512181603804</c:v>
                </c:pt>
                <c:pt idx="52">
                  <c:v>0.88176704798342098</c:v>
                </c:pt>
                <c:pt idx="53">
                  <c:v>0.67676604072940194</c:v>
                </c:pt>
                <c:pt idx="54">
                  <c:v>0.48298647443987153</c:v>
                </c:pt>
                <c:pt idx="55">
                  <c:v>0.29797070105615586</c:v>
                </c:pt>
                <c:pt idx="56">
                  <c:v>0.13135630437665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.056349521797316</c:v>
                </c:pt>
                <c:pt idx="32">
                  <c:v>9.2944222591240333</c:v>
                </c:pt>
                <c:pt idx="33">
                  <c:v>8.5962669696599896</c:v>
                </c:pt>
                <c:pt idx="34">
                  <c:v>7.9327725772559372</c:v>
                </c:pt>
                <c:pt idx="35">
                  <c:v>7.3233063930593048</c:v>
                </c:pt>
                <c:pt idx="36">
                  <c:v>6.7807492042588127</c:v>
                </c:pt>
                <c:pt idx="37">
                  <c:v>6.2864528018749315</c:v>
                </c:pt>
                <c:pt idx="38">
                  <c:v>5.8348184485955841</c:v>
                </c:pt>
                <c:pt idx="39">
                  <c:v>5.4246940322716473</c:v>
                </c:pt>
                <c:pt idx="40">
                  <c:v>5.0487364457475694</c:v>
                </c:pt>
                <c:pt idx="41">
                  <c:v>4.6983818125660477</c:v>
                </c:pt>
                <c:pt idx="42">
                  <c:v>4.3852870590287267</c:v>
                </c:pt>
                <c:pt idx="43">
                  <c:v>4.1143897512692869</c:v>
                </c:pt>
                <c:pt idx="44">
                  <c:v>3.858586979263273</c:v>
                </c:pt>
                <c:pt idx="45">
                  <c:v>3.6291123089393462</c:v>
                </c:pt>
                <c:pt idx="46">
                  <c:v>3.4223527675980909</c:v>
                </c:pt>
                <c:pt idx="47">
                  <c:v>3.2188658841993378</c:v>
                </c:pt>
                <c:pt idx="48">
                  <c:v>3.0441167089134726</c:v>
                </c:pt>
                <c:pt idx="49">
                  <c:v>2.8814412093079271</c:v>
                </c:pt>
                <c:pt idx="50">
                  <c:v>2.7231284978778008</c:v>
                </c:pt>
                <c:pt idx="51">
                  <c:v>2.5884273447803383</c:v>
                </c:pt>
                <c:pt idx="52">
                  <c:v>2.4535352603915972</c:v>
                </c:pt>
                <c:pt idx="53">
                  <c:v>2.3289831707663247</c:v>
                </c:pt>
                <c:pt idx="54">
                  <c:v>2.2118839727767181</c:v>
                </c:pt>
                <c:pt idx="55">
                  <c:v>2.0994238525253981</c:v>
                </c:pt>
                <c:pt idx="56">
                  <c:v>2.001170966773818</c:v>
                </c:pt>
                <c:pt idx="57">
                  <c:v>1.9018811606492982</c:v>
                </c:pt>
                <c:pt idx="58">
                  <c:v>1.8113516378364642</c:v>
                </c:pt>
                <c:pt idx="59">
                  <c:v>1.7228125600572568</c:v>
                </c:pt>
                <c:pt idx="60">
                  <c:v>1.6406987942125433</c:v>
                </c:pt>
                <c:pt idx="61">
                  <c:v>1.5624157768054303</c:v>
                </c:pt>
                <c:pt idx="62">
                  <c:v>1.484797884316539</c:v>
                </c:pt>
                <c:pt idx="63">
                  <c:v>1.4105804039080991</c:v>
                </c:pt>
                <c:pt idx="64">
                  <c:v>1.3384349917020346</c:v>
                </c:pt>
                <c:pt idx="65">
                  <c:v>1.2711293762548361</c:v>
                </c:pt>
                <c:pt idx="66">
                  <c:v>1.2049149172429743</c:v>
                </c:pt>
                <c:pt idx="67">
                  <c:v>1.1421453498100316</c:v>
                </c:pt>
                <c:pt idx="68">
                  <c:v>1.0820864696952717</c:v>
                </c:pt>
                <c:pt idx="69">
                  <c:v>1.0228945049041906</c:v>
                </c:pt>
                <c:pt idx="70">
                  <c:v>0.96563702018822706</c:v>
                </c:pt>
                <c:pt idx="71">
                  <c:v>0.91031129904313302</c:v>
                </c:pt>
                <c:pt idx="72">
                  <c:v>0.85738991031956735</c:v>
                </c:pt>
                <c:pt idx="73">
                  <c:v>0.80564389201400233</c:v>
                </c:pt>
                <c:pt idx="74">
                  <c:v>0.75416680196343344</c:v>
                </c:pt>
                <c:pt idx="75">
                  <c:v>0.70725420009674234</c:v>
                </c:pt>
                <c:pt idx="76">
                  <c:v>0.65889751471052982</c:v>
                </c:pt>
                <c:pt idx="77">
                  <c:v>0.61435155685108445</c:v>
                </c:pt>
                <c:pt idx="78">
                  <c:v>0.56996233319720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.068542776657555</c:v>
                </c:pt>
                <c:pt idx="32">
                  <c:v>9.3287414195909584</c:v>
                </c:pt>
                <c:pt idx="33">
                  <c:v>8.6598099280338445</c:v>
                </c:pt>
                <c:pt idx="34">
                  <c:v>8.030846263880786</c:v>
                </c:pt>
                <c:pt idx="35">
                  <c:v>7.4639462900800693</c:v>
                </c:pt>
                <c:pt idx="36">
                  <c:v>6.9738719211375457</c:v>
                </c:pt>
                <c:pt idx="37">
                  <c:v>6.5441834748759584</c:v>
                </c:pt>
                <c:pt idx="38">
                  <c:v>6.1699765997496439</c:v>
                </c:pt>
                <c:pt idx="39">
                  <c:v>5.8471731117738042</c:v>
                </c:pt>
                <c:pt idx="40">
                  <c:v>5.5673146225638241</c:v>
                </c:pt>
                <c:pt idx="41">
                  <c:v>5.3226097578531029</c:v>
                </c:pt>
                <c:pt idx="42">
                  <c:v>5.1255902100043089</c:v>
                </c:pt>
                <c:pt idx="43">
                  <c:v>4.9814901040865269</c:v>
                </c:pt>
                <c:pt idx="44">
                  <c:v>4.8616270135951662</c:v>
                </c:pt>
                <c:pt idx="45">
                  <c:v>4.7764146160507472</c:v>
                </c:pt>
                <c:pt idx="46">
                  <c:v>4.7207450477939243</c:v>
                </c:pt>
                <c:pt idx="47">
                  <c:v>4.6757132101777614</c:v>
                </c:pt>
                <c:pt idx="48">
                  <c:v>4.666402524030266</c:v>
                </c:pt>
                <c:pt idx="49">
                  <c:v>4.6757850894825861</c:v>
                </c:pt>
                <c:pt idx="50">
                  <c:v>4.6956866501589438</c:v>
                </c:pt>
                <c:pt idx="51">
                  <c:v>4.7439214158077991</c:v>
                </c:pt>
                <c:pt idx="52">
                  <c:v>4.7961937096222114</c:v>
                </c:pt>
                <c:pt idx="53">
                  <c:v>4.863567740086701</c:v>
                </c:pt>
                <c:pt idx="54">
                  <c:v>4.9429913610855953</c:v>
                </c:pt>
                <c:pt idx="55">
                  <c:v>5.0310930835290897</c:v>
                </c:pt>
                <c:pt idx="56">
                  <c:v>5.1367719635962219</c:v>
                </c:pt>
                <c:pt idx="57">
                  <c:v>5.2450403209566172</c:v>
                </c:pt>
                <c:pt idx="58">
                  <c:v>5.3652030861203768</c:v>
                </c:pt>
                <c:pt idx="59">
                  <c:v>5.4902961979316043</c:v>
                </c:pt>
                <c:pt idx="60">
                  <c:v>5.6251943162431655</c:v>
                </c:pt>
                <c:pt idx="61">
                  <c:v>5.7665908176871472</c:v>
                </c:pt>
                <c:pt idx="62">
                  <c:v>5.9117365562683304</c:v>
                </c:pt>
                <c:pt idx="63">
                  <c:v>6.0630510441967891</c:v>
                </c:pt>
                <c:pt idx="64">
                  <c:v>6.2193604568988299</c:v>
                </c:pt>
                <c:pt idx="65">
                  <c:v>6.3830407577828741</c:v>
                </c:pt>
                <c:pt idx="66">
                  <c:v>6.5508981526744865</c:v>
                </c:pt>
                <c:pt idx="67">
                  <c:v>6.7249850074197468</c:v>
                </c:pt>
                <c:pt idx="68">
                  <c:v>6.904465932484011</c:v>
                </c:pt>
                <c:pt idx="69">
                  <c:v>7.0873960260233471</c:v>
                </c:pt>
                <c:pt idx="70">
                  <c:v>7.2750704065177754</c:v>
                </c:pt>
                <c:pt idx="71">
                  <c:v>7.4677935073185342</c:v>
                </c:pt>
                <c:pt idx="72">
                  <c:v>7.6654579081594587</c:v>
                </c:pt>
                <c:pt idx="73">
                  <c:v>7.8676532708609797</c:v>
                </c:pt>
                <c:pt idx="74">
                  <c:v>8.0732488538012426</c:v>
                </c:pt>
                <c:pt idx="75">
                  <c:v>8.2861454480246213</c:v>
                </c:pt>
                <c:pt idx="76">
                  <c:v>8.5008734473926566</c:v>
                </c:pt>
                <c:pt idx="77">
                  <c:v>8.7224207846437736</c:v>
                </c:pt>
                <c:pt idx="78">
                  <c:v>8.9476914485907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6</c:v>
                </c:pt>
                <c:pt idx="1">
                  <c:v>64</c:v>
                </c:pt>
                <c:pt idx="2">
                  <c:v>66</c:v>
                </c:pt>
                <c:pt idx="3">
                  <c:v>66</c:v>
                </c:pt>
                <c:pt idx="4">
                  <c:v>62</c:v>
                </c:pt>
                <c:pt idx="5">
                  <c:v>54</c:v>
                </c:pt>
                <c:pt idx="6">
                  <c:v>51</c:v>
                </c:pt>
                <c:pt idx="7">
                  <c:v>48</c:v>
                </c:pt>
                <c:pt idx="8">
                  <c:v>51</c:v>
                </c:pt>
                <c:pt idx="9">
                  <c:v>50</c:v>
                </c:pt>
                <c:pt idx="10">
                  <c:v>42</c:v>
                </c:pt>
                <c:pt idx="11">
                  <c:v>37</c:v>
                </c:pt>
                <c:pt idx="12">
                  <c:v>39</c:v>
                </c:pt>
                <c:pt idx="13">
                  <c:v>39</c:v>
                </c:pt>
                <c:pt idx="14">
                  <c:v>32</c:v>
                </c:pt>
                <c:pt idx="15">
                  <c:v>30</c:v>
                </c:pt>
                <c:pt idx="16">
                  <c:v>31</c:v>
                </c:pt>
                <c:pt idx="17">
                  <c:v>33</c:v>
                </c:pt>
                <c:pt idx="18">
                  <c:v>23</c:v>
                </c:pt>
                <c:pt idx="19">
                  <c:v>22</c:v>
                </c:pt>
                <c:pt idx="20">
                  <c:v>23</c:v>
                </c:pt>
                <c:pt idx="21">
                  <c:v>22</c:v>
                </c:pt>
                <c:pt idx="22">
                  <c:v>22</c:v>
                </c:pt>
                <c:pt idx="23">
                  <c:v>21</c:v>
                </c:pt>
                <c:pt idx="24">
                  <c:v>18</c:v>
                </c:pt>
                <c:pt idx="25">
                  <c:v>18</c:v>
                </c:pt>
                <c:pt idx="26">
                  <c:v>17</c:v>
                </c:pt>
                <c:pt idx="27">
                  <c:v>15</c:v>
                </c:pt>
                <c:pt idx="28">
                  <c:v>15</c:v>
                </c:pt>
                <c:pt idx="29">
                  <c:v>13</c:v>
                </c:pt>
                <c:pt idx="30">
                  <c:v>10</c:v>
                </c:pt>
                <c:pt idx="31">
                  <c:v>9</c:v>
                </c:pt>
                <c:pt idx="32">
                  <c:v>12</c:v>
                </c:pt>
                <c:pt idx="33">
                  <c:v>11</c:v>
                </c:pt>
                <c:pt idx="34">
                  <c:v>10</c:v>
                </c:pt>
                <c:pt idx="35">
                  <c:v>8</c:v>
                </c:pt>
                <c:pt idx="36">
                  <c:v>8</c:v>
                </c:pt>
                <c:pt idx="37">
                  <c:v>6</c:v>
                </c:pt>
                <c:pt idx="38">
                  <c:v>5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E-3</c:v>
                </c:pt>
                <c:pt idx="49">
                  <c:v>1E-3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.54558634480756</c:v>
                </c:pt>
                <c:pt idx="32">
                  <c:v>12.493351633689853</c:v>
                </c:pt>
                <c:pt idx="33">
                  <c:v>11.516395542745723</c:v>
                </c:pt>
                <c:pt idx="34">
                  <c:v>10.583161391647778</c:v>
                </c:pt>
                <c:pt idx="35">
                  <c:v>9.7141860955381993</c:v>
                </c:pt>
                <c:pt idx="36">
                  <c:v>8.9242199223273779</c:v>
                </c:pt>
                <c:pt idx="37">
                  <c:v>8.1868982416591116</c:v>
                </c:pt>
                <c:pt idx="38">
                  <c:v>7.4946360680500179</c:v>
                </c:pt>
                <c:pt idx="39">
                  <c:v>6.8481040582451254</c:v>
                </c:pt>
                <c:pt idx="40">
                  <c:v>6.2411428524390296</c:v>
                </c:pt>
                <c:pt idx="41">
                  <c:v>5.6637309706515016</c:v>
                </c:pt>
                <c:pt idx="42">
                  <c:v>5.1297083745787777</c:v>
                </c:pt>
                <c:pt idx="43">
                  <c:v>4.6466837625317972</c:v>
                </c:pt>
                <c:pt idx="44">
                  <c:v>4.1846604018428772</c:v>
                </c:pt>
                <c:pt idx="45">
                  <c:v>3.7545760096061036</c:v>
                </c:pt>
                <c:pt idx="46">
                  <c:v>3.353332351159088</c:v>
                </c:pt>
                <c:pt idx="47">
                  <c:v>2.9600810982449217</c:v>
                </c:pt>
                <c:pt idx="48">
                  <c:v>2.6047274114427506</c:v>
                </c:pt>
                <c:pt idx="49">
                  <c:v>2.2695873790623389</c:v>
                </c:pt>
                <c:pt idx="50">
                  <c:v>1.9463482851966363</c:v>
                </c:pt>
                <c:pt idx="51">
                  <c:v>1.6571749836097738</c:v>
                </c:pt>
                <c:pt idx="52">
                  <c:v>1.3738137145986533</c:v>
                </c:pt>
                <c:pt idx="53">
                  <c:v>1.1083677261626563</c:v>
                </c:pt>
                <c:pt idx="54">
                  <c:v>0.85718846719538744</c:v>
                </c:pt>
                <c:pt idx="55">
                  <c:v>0.61879662703269578</c:v>
                </c:pt>
                <c:pt idx="56">
                  <c:v>0.40343322205970295</c:v>
                </c:pt>
                <c:pt idx="57">
                  <c:v>0.19407933633911911</c:v>
                </c:pt>
                <c:pt idx="58">
                  <c:v>1.392249362999198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.561555759532752</c:v>
                </c:pt>
                <c:pt idx="32">
                  <c:v>12.537894369299069</c:v>
                </c:pt>
                <c:pt idx="33">
                  <c:v>11.599060143809663</c:v>
                </c:pt>
                <c:pt idx="34">
                  <c:v>10.711306841012815</c:v>
                </c:pt>
                <c:pt idx="35">
                  <c:v>9.8961629816388061</c:v>
                </c:pt>
                <c:pt idx="36">
                  <c:v>9.1701026016536389</c:v>
                </c:pt>
                <c:pt idx="37">
                  <c:v>8.5086542445250331</c:v>
                </c:pt>
                <c:pt idx="38">
                  <c:v>7.9036866214705883</c:v>
                </c:pt>
                <c:pt idx="39">
                  <c:v>7.3531181355379172</c:v>
                </c:pt>
                <c:pt idx="40">
                  <c:v>6.8492551602817375</c:v>
                </c:pt>
                <c:pt idx="41">
                  <c:v>6.3806720460912949</c:v>
                </c:pt>
                <c:pt idx="42">
                  <c:v>5.9612093743072414</c:v>
                </c:pt>
                <c:pt idx="43">
                  <c:v>5.5978371628537529</c:v>
                </c:pt>
                <c:pt idx="44">
                  <c:v>5.2587910199341685</c:v>
                </c:pt>
                <c:pt idx="45">
                  <c:v>4.9533923814041039</c:v>
                </c:pt>
                <c:pt idx="46">
                  <c:v>4.6765479075908445</c:v>
                </c:pt>
                <c:pt idx="47">
                  <c:v>4.4066734528449434</c:v>
                </c:pt>
                <c:pt idx="48">
                  <c:v>4.1732946869482932</c:v>
                </c:pt>
                <c:pt idx="49">
                  <c:v>3.9574205410343657</c:v>
                </c:pt>
                <c:pt idx="50">
                  <c:v>3.7500265532273342</c:v>
                </c:pt>
                <c:pt idx="51">
                  <c:v>3.5732502942456286</c:v>
                </c:pt>
                <c:pt idx="52">
                  <c:v>3.3975933066113138</c:v>
                </c:pt>
                <c:pt idx="53">
                  <c:v>3.2347281731380972</c:v>
                </c:pt>
                <c:pt idx="54">
                  <c:v>3.0812492832067959</c:v>
                </c:pt>
                <c:pt idx="55">
                  <c:v>2.935238113497789</c:v>
                </c:pt>
                <c:pt idx="56">
                  <c:v>2.8068525428103435</c:v>
                </c:pt>
                <c:pt idx="57">
                  <c:v>2.6787051691151862</c:v>
                </c:pt>
                <c:pt idx="58">
                  <c:v>2.5618960026380746</c:v>
                </c:pt>
                <c:pt idx="59">
                  <c:v>2.4482303801514869</c:v>
                </c:pt>
                <c:pt idx="60">
                  <c:v>2.3419279004815818</c:v>
                </c:pt>
                <c:pt idx="61">
                  <c:v>2.2415420865643445</c:v>
                </c:pt>
                <c:pt idx="62">
                  <c:v>2.1418729541416139</c:v>
                </c:pt>
                <c:pt idx="63">
                  <c:v>2.0458883849663057</c:v>
                </c:pt>
                <c:pt idx="64">
                  <c:v>1.9545017956873365</c:v>
                </c:pt>
                <c:pt idx="65">
                  <c:v>1.8689780012298456</c:v>
                </c:pt>
                <c:pt idx="66">
                  <c:v>1.7841980191159237</c:v>
                </c:pt>
                <c:pt idx="67">
                  <c:v>1.7043766560244424</c:v>
                </c:pt>
                <c:pt idx="68">
                  <c:v>1.6278264715445327</c:v>
                </c:pt>
                <c:pt idx="69">
                  <c:v>1.5522819746023364</c:v>
                </c:pt>
                <c:pt idx="70">
                  <c:v>1.4792064375397467</c:v>
                </c:pt>
                <c:pt idx="71">
                  <c:v>1.4088918361151102</c:v>
                </c:pt>
                <c:pt idx="72">
                  <c:v>1.3422449541852752</c:v>
                </c:pt>
                <c:pt idx="73">
                  <c:v>1.2764163406208733</c:v>
                </c:pt>
                <c:pt idx="74">
                  <c:v>1.2109332042132728</c:v>
                </c:pt>
                <c:pt idx="75">
                  <c:v>1.15084775192253</c:v>
                </c:pt>
                <c:pt idx="76">
                  <c:v>1.0894275678302707</c:v>
                </c:pt>
                <c:pt idx="77">
                  <c:v>1.0325514758861274</c:v>
                </c:pt>
                <c:pt idx="78">
                  <c:v>0.97579041415790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.577525174257943</c:v>
                </c:pt>
                <c:pt idx="32">
                  <c:v>12.582880699761763</c:v>
                </c:pt>
                <c:pt idx="33">
                  <c:v>11.682296650804751</c:v>
                </c:pt>
                <c:pt idx="34">
                  <c:v>10.839670784552505</c:v>
                </c:pt>
                <c:pt idx="35">
                  <c:v>10.080082388805518</c:v>
                </c:pt>
                <c:pt idx="36">
                  <c:v>9.4224131413377616</c:v>
                </c:pt>
                <c:pt idx="37">
                  <c:v>8.8449844828891813</c:v>
                </c:pt>
                <c:pt idx="38">
                  <c:v>8.3405542359196865</c:v>
                </c:pt>
                <c:pt idx="39">
                  <c:v>7.9031968971476134</c:v>
                </c:pt>
                <c:pt idx="40">
                  <c:v>7.5236944940233315</c:v>
                </c:pt>
                <c:pt idx="41">
                  <c:v>7.1916423292429901</c:v>
                </c:pt>
                <c:pt idx="42">
                  <c:v>6.9220753487190674</c:v>
                </c:pt>
                <c:pt idx="43">
                  <c:v>6.7223249243453784</c:v>
                </c:pt>
                <c:pt idx="44">
                  <c:v>6.5585650071585739</c:v>
                </c:pt>
                <c:pt idx="45">
                  <c:v>6.4390181123222465</c:v>
                </c:pt>
                <c:pt idx="46">
                  <c:v>6.3566909653274353</c:v>
                </c:pt>
                <c:pt idx="47">
                  <c:v>6.2907155324276864</c:v>
                </c:pt>
                <c:pt idx="48">
                  <c:v>6.2701333230303886</c:v>
                </c:pt>
                <c:pt idx="49">
                  <c:v>6.2754783072358933</c:v>
                </c:pt>
                <c:pt idx="50">
                  <c:v>6.2971192778752529</c:v>
                </c:pt>
                <c:pt idx="51">
                  <c:v>6.3553348430553402</c:v>
                </c:pt>
                <c:pt idx="52">
                  <c:v>6.4199963711598791</c:v>
                </c:pt>
                <c:pt idx="53">
                  <c:v>6.5034957459322591</c:v>
                </c:pt>
                <c:pt idx="54">
                  <c:v>6.6022190560248415</c:v>
                </c:pt>
                <c:pt idx="55">
                  <c:v>6.7135272517261377</c:v>
                </c:pt>
                <c:pt idx="56">
                  <c:v>6.8467183729440482</c:v>
                </c:pt>
                <c:pt idx="57">
                  <c:v>6.9847566847414875</c:v>
                </c:pt>
                <c:pt idx="58">
                  <c:v>7.138117969141927</c:v>
                </c:pt>
                <c:pt idx="59">
                  <c:v>7.2983499529114715</c:v>
                </c:pt>
                <c:pt idx="60">
                  <c:v>7.4702518967715275</c:v>
                </c:pt>
                <c:pt idx="61">
                  <c:v>7.6514496366271425</c:v>
                </c:pt>
                <c:pt idx="62">
                  <c:v>7.8372908659646523</c:v>
                </c:pt>
                <c:pt idx="63">
                  <c:v>8.0303446728915393</c:v>
                </c:pt>
                <c:pt idx="64">
                  <c:v>8.2317311189698685</c:v>
                </c:pt>
                <c:pt idx="65">
                  <c:v>8.4422071020289309</c:v>
                </c:pt>
                <c:pt idx="66">
                  <c:v>8.6573720007573787</c:v>
                </c:pt>
                <c:pt idx="67">
                  <c:v>8.8810484758163302</c:v>
                </c:pt>
                <c:pt idx="68">
                  <c:v>9.1114164612487265</c:v>
                </c:pt>
                <c:pt idx="69">
                  <c:v>9.3460829890337322</c:v>
                </c:pt>
                <c:pt idx="70">
                  <c:v>9.5868140754447033</c:v>
                </c:pt>
                <c:pt idx="71">
                  <c:v>9.8343009810847484</c:v>
                </c:pt>
                <c:pt idx="72">
                  <c:v>10.088684587776633</c:v>
                </c:pt>
                <c:pt idx="73">
                  <c:v>10.348187805288639</c:v>
                </c:pt>
                <c:pt idx="74">
                  <c:v>10.612051303459349</c:v>
                </c:pt>
                <c:pt idx="75">
                  <c:v>10.884804379782398</c:v>
                </c:pt>
                <c:pt idx="76">
                  <c:v>11.160413475656032</c:v>
                </c:pt>
                <c:pt idx="77">
                  <c:v>11.444415629816753</c:v>
                </c:pt>
                <c:pt idx="78">
                  <c:v>11.733105929134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76</c:v>
                </c:pt>
                <c:pt idx="2">
                  <c:v>120</c:v>
                </c:pt>
                <c:pt idx="3">
                  <c:v>170</c:v>
                </c:pt>
                <c:pt idx="4">
                  <c:v>214</c:v>
                </c:pt>
                <c:pt idx="5">
                  <c:v>247</c:v>
                </c:pt>
                <c:pt idx="6">
                  <c:v>282</c:v>
                </c:pt>
                <c:pt idx="7">
                  <c:v>309</c:v>
                </c:pt>
                <c:pt idx="8">
                  <c:v>342</c:v>
                </c:pt>
                <c:pt idx="9">
                  <c:v>375</c:v>
                </c:pt>
                <c:pt idx="10">
                  <c:v>416</c:v>
                </c:pt>
                <c:pt idx="11">
                  <c:v>444</c:v>
                </c:pt>
                <c:pt idx="12">
                  <c:v>469</c:v>
                </c:pt>
                <c:pt idx="13">
                  <c:v>501</c:v>
                </c:pt>
                <c:pt idx="14">
                  <c:v>518</c:v>
                </c:pt>
                <c:pt idx="15">
                  <c:v>534</c:v>
                </c:pt>
                <c:pt idx="16">
                  <c:v>556</c:v>
                </c:pt>
                <c:pt idx="17">
                  <c:v>578</c:v>
                </c:pt>
                <c:pt idx="18">
                  <c:v>599</c:v>
                </c:pt>
                <c:pt idx="19">
                  <c:v>611</c:v>
                </c:pt>
                <c:pt idx="20">
                  <c:v>629</c:v>
                </c:pt>
                <c:pt idx="21">
                  <c:v>645</c:v>
                </c:pt>
                <c:pt idx="22">
                  <c:v>653</c:v>
                </c:pt>
                <c:pt idx="23">
                  <c:v>668</c:v>
                </c:pt>
                <c:pt idx="24">
                  <c:v>677</c:v>
                </c:pt>
                <c:pt idx="25">
                  <c:v>693</c:v>
                </c:pt>
                <c:pt idx="26">
                  <c:v>702</c:v>
                </c:pt>
                <c:pt idx="27">
                  <c:v>706</c:v>
                </c:pt>
                <c:pt idx="28">
                  <c:v>711</c:v>
                </c:pt>
                <c:pt idx="29">
                  <c:v>719</c:v>
                </c:pt>
                <c:pt idx="30">
                  <c:v>727</c:v>
                </c:pt>
                <c:pt idx="31">
                  <c:v>731</c:v>
                </c:pt>
                <c:pt idx="32">
                  <c:v>739</c:v>
                </c:pt>
                <c:pt idx="33">
                  <c:v>746</c:v>
                </c:pt>
                <c:pt idx="34">
                  <c:v>751</c:v>
                </c:pt>
                <c:pt idx="35">
                  <c:v>753</c:v>
                </c:pt>
                <c:pt idx="36">
                  <c:v>756</c:v>
                </c:pt>
                <c:pt idx="37">
                  <c:v>761</c:v>
                </c:pt>
                <c:pt idx="38">
                  <c:v>767</c:v>
                </c:pt>
                <c:pt idx="39">
                  <c:v>771</c:v>
                </c:pt>
                <c:pt idx="40">
                  <c:v>775</c:v>
                </c:pt>
                <c:pt idx="41">
                  <c:v>775</c:v>
                </c:pt>
                <c:pt idx="42">
                  <c:v>779</c:v>
                </c:pt>
                <c:pt idx="43">
                  <c:v>779</c:v>
                </c:pt>
                <c:pt idx="44">
                  <c:v>781</c:v>
                </c:pt>
                <c:pt idx="45">
                  <c:v>782</c:v>
                </c:pt>
                <c:pt idx="46">
                  <c:v>783</c:v>
                </c:pt>
                <c:pt idx="47">
                  <c:v>787</c:v>
                </c:pt>
                <c:pt idx="48">
                  <c:v>791</c:v>
                </c:pt>
                <c:pt idx="49">
                  <c:v>792</c:v>
                </c:pt>
                <c:pt idx="50">
                  <c:v>794</c:v>
                </c:pt>
                <c:pt idx="51">
                  <c:v>794</c:v>
                </c:pt>
                <c:pt idx="52">
                  <c:v>794</c:v>
                </c:pt>
                <c:pt idx="53">
                  <c:v>794</c:v>
                </c:pt>
                <c:pt idx="54">
                  <c:v>795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1.08658389692755</c:v>
                </c:pt>
                <c:pt idx="32">
                  <c:v>737.7220434051269</c:v>
                </c:pt>
                <c:pt idx="33">
                  <c:v>743.94971923283083</c:v>
                </c:pt>
                <c:pt idx="34">
                  <c:v>749.7471968363734</c:v>
                </c:pt>
                <c:pt idx="35">
                  <c:v>755.17108422083766</c:v>
                </c:pt>
                <c:pt idx="36">
                  <c:v>760.33948446178874</c:v>
                </c:pt>
                <c:pt idx="37">
                  <c:v>765.23526525527814</c:v>
                </c:pt>
                <c:pt idx="38">
                  <c:v>769.83203230575964</c:v>
                </c:pt>
                <c:pt idx="39">
                  <c:v>774.18128026477279</c:v>
                </c:pt>
                <c:pt idx="40">
                  <c:v>778.29698131098667</c:v>
                </c:pt>
                <c:pt idx="41">
                  <c:v>782.15828031949241</c:v>
                </c:pt>
                <c:pt idx="42">
                  <c:v>785.83309236280002</c:v>
                </c:pt>
                <c:pt idx="43">
                  <c:v>789.31268422675748</c:v>
                </c:pt>
                <c:pt idx="44">
                  <c:v>792.62161170291438</c:v>
                </c:pt>
                <c:pt idx="45">
                  <c:v>795.7512957379513</c:v>
                </c:pt>
                <c:pt idx="46">
                  <c:v>798.71110535696971</c:v>
                </c:pt>
                <c:pt idx="47">
                  <c:v>801.51020348626662</c:v>
                </c:pt>
                <c:pt idx="48">
                  <c:v>804.1562745706924</c:v>
                </c:pt>
                <c:pt idx="49">
                  <c:v>806.66830973538526</c:v>
                </c:pt>
                <c:pt idx="50">
                  <c:v>809.05995694601734</c:v>
                </c:pt>
                <c:pt idx="51">
                  <c:v>811.33251688092969</c:v>
                </c:pt>
                <c:pt idx="52">
                  <c:v>813.49172319888021</c:v>
                </c:pt>
                <c:pt idx="53">
                  <c:v>815.54514405418377</c:v>
                </c:pt>
                <c:pt idx="54">
                  <c:v>817.4983213160358</c:v>
                </c:pt>
                <c:pt idx="55">
                  <c:v>819.35715989658638</c:v>
                </c:pt>
                <c:pt idx="56">
                  <c:v>821.12665530010781</c:v>
                </c:pt>
                <c:pt idx="57">
                  <c:v>822.81518852152658</c:v>
                </c:pt>
                <c:pt idx="58">
                  <c:v>824.42677552410896</c:v>
                </c:pt>
                <c:pt idx="59">
                  <c:v>825.96874358943023</c:v>
                </c:pt>
                <c:pt idx="60">
                  <c:v>827.44241998145662</c:v>
                </c:pt>
                <c:pt idx="61">
                  <c:v>828.85143481554223</c:v>
                </c:pt>
                <c:pt idx="62">
                  <c:v>830.19976763475825</c:v>
                </c:pt>
                <c:pt idx="63">
                  <c:v>831.49380733894395</c:v>
                </c:pt>
                <c:pt idx="64">
                  <c:v>832.73349455725474</c:v>
                </c:pt>
                <c:pt idx="65">
                  <c:v>833.92462353598421</c:v>
                </c:pt>
                <c:pt idx="66">
                  <c:v>835.06997590426363</c:v>
                </c:pt>
                <c:pt idx="67">
                  <c:v>836.17573345015262</c:v>
                </c:pt>
                <c:pt idx="68">
                  <c:v>837.23807275866602</c:v>
                </c:pt>
                <c:pt idx="69">
                  <c:v>838.26492073370537</c:v>
                </c:pt>
                <c:pt idx="70">
                  <c:v>839.25553637606572</c:v>
                </c:pt>
                <c:pt idx="71">
                  <c:v>840.21132924988706</c:v>
                </c:pt>
                <c:pt idx="72">
                  <c:v>841.13708407560625</c:v>
                </c:pt>
                <c:pt idx="73">
                  <c:v>842.03165928413182</c:v>
                </c:pt>
                <c:pt idx="74">
                  <c:v>842.90263537974533</c:v>
                </c:pt>
                <c:pt idx="75">
                  <c:v>843.7460434982022</c:v>
                </c:pt>
                <c:pt idx="76">
                  <c:v>844.56548959634711</c:v>
                </c:pt>
                <c:pt idx="77">
                  <c:v>845.35874382723705</c:v>
                </c:pt>
                <c:pt idx="78">
                  <c:v>846.13311701370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1.21887257813069</c:v>
                </c:pt>
                <c:pt idx="32">
                  <c:v>738.09966339392849</c:v>
                </c:pt>
                <c:pt idx="33">
                  <c:v>744.66818040294493</c:v>
                </c:pt>
                <c:pt idx="34">
                  <c:v>750.89002648321184</c:v>
                </c:pt>
                <c:pt idx="35">
                  <c:v>756.83500371149057</c:v>
                </c:pt>
                <c:pt idx="36">
                  <c:v>762.64116869911413</c:v>
                </c:pt>
                <c:pt idx="37">
                  <c:v>768.31412138291489</c:v>
                </c:pt>
                <c:pt idx="38">
                  <c:v>773.83110397132987</c:v>
                </c:pt>
                <c:pt idx="39">
                  <c:v>779.2292777831608</c:v>
                </c:pt>
                <c:pt idx="40">
                  <c:v>784.51639799453187</c:v>
                </c:pt>
                <c:pt idx="41">
                  <c:v>789.66536897262631</c:v>
                </c:pt>
                <c:pt idx="42">
                  <c:v>794.74881768094747</c:v>
                </c:pt>
                <c:pt idx="43">
                  <c:v>799.75796543354227</c:v>
                </c:pt>
                <c:pt idx="44">
                  <c:v>804.70717292116751</c:v>
                </c:pt>
                <c:pt idx="45">
                  <c:v>809.57870879623624</c:v>
                </c:pt>
                <c:pt idx="46">
                  <c:v>814.36812778784224</c:v>
                </c:pt>
                <c:pt idx="47">
                  <c:v>819.0796896163356</c:v>
                </c:pt>
                <c:pt idx="48">
                  <c:v>823.71894905978479</c:v>
                </c:pt>
                <c:pt idx="49">
                  <c:v>828.29431884926817</c:v>
                </c:pt>
                <c:pt idx="50">
                  <c:v>832.81347232573535</c:v>
                </c:pt>
                <c:pt idx="51">
                  <c:v>837.27613519194529</c:v>
                </c:pt>
                <c:pt idx="52">
                  <c:v>841.67662095030573</c:v>
                </c:pt>
                <c:pt idx="53">
                  <c:v>846.01632334345231</c:v>
                </c:pt>
                <c:pt idx="54">
                  <c:v>850.29992146736186</c:v>
                </c:pt>
                <c:pt idx="55">
                  <c:v>854.52683936339054</c:v>
                </c:pt>
                <c:pt idx="56">
                  <c:v>858.69800056757776</c:v>
                </c:pt>
                <c:pt idx="57">
                  <c:v>862.81521919308398</c:v>
                </c:pt>
                <c:pt idx="58">
                  <c:v>866.88191870077935</c:v>
                </c:pt>
                <c:pt idx="59">
                  <c:v>870.89575057995171</c:v>
                </c:pt>
                <c:pt idx="60">
                  <c:v>874.86082769711356</c:v>
                </c:pt>
                <c:pt idx="61">
                  <c:v>878.77587254268656</c:v>
                </c:pt>
                <c:pt idx="62">
                  <c:v>882.64217269519577</c:v>
                </c:pt>
                <c:pt idx="63">
                  <c:v>886.46023973218144</c:v>
                </c:pt>
                <c:pt idx="64">
                  <c:v>890.23064569495364</c:v>
                </c:pt>
                <c:pt idx="65">
                  <c:v>893.95754278344248</c:v>
                </c:pt>
                <c:pt idx="66">
                  <c:v>897.63896652932817</c:v>
                </c:pt>
                <c:pt idx="67">
                  <c:v>901.27498724417273</c:v>
                </c:pt>
                <c:pt idx="68">
                  <c:v>904.8696050503695</c:v>
                </c:pt>
                <c:pt idx="69">
                  <c:v>908.42062061900651</c:v>
                </c:pt>
                <c:pt idx="70">
                  <c:v>911.93163642729087</c:v>
                </c:pt>
                <c:pt idx="71">
                  <c:v>915.40044951727759</c:v>
                </c:pt>
                <c:pt idx="72">
                  <c:v>918.83048791103647</c:v>
                </c:pt>
                <c:pt idx="73">
                  <c:v>922.21919025074931</c:v>
                </c:pt>
                <c:pt idx="74">
                  <c:v>925.57009011771879</c:v>
                </c:pt>
                <c:pt idx="75">
                  <c:v>928.88418169687793</c:v>
                </c:pt>
                <c:pt idx="76">
                  <c:v>932.15868591094659</c:v>
                </c:pt>
                <c:pt idx="77">
                  <c:v>935.40036218846581</c:v>
                </c:pt>
                <c:pt idx="78">
                  <c:v>938.60419784918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31.351161259332</c:v>
                </c:pt>
                <c:pt idx="32">
                  <c:v>738.48095806831589</c:v>
                </c:pt>
                <c:pt idx="33">
                  <c:v>745.39161898880593</c:v>
                </c:pt>
                <c:pt idx="34">
                  <c:v>752.03524187577932</c:v>
                </c:pt>
                <c:pt idx="35">
                  <c:v>758.51574967399574</c:v>
                </c:pt>
                <c:pt idx="36">
                  <c:v>764.99791380745955</c:v>
                </c:pt>
                <c:pt idx="37">
                  <c:v>771.51913675005562</c:v>
                </c:pt>
                <c:pt idx="38">
                  <c:v>778.07436433477233</c:v>
                </c:pt>
                <c:pt idx="39">
                  <c:v>784.68041221796193</c:v>
                </c:pt>
                <c:pt idx="40">
                  <c:v>791.34151631375789</c:v>
                </c:pt>
                <c:pt idx="41">
                  <c:v>798.04708263163047</c:v>
                </c:pt>
                <c:pt idx="42">
                  <c:v>804.8883884692259</c:v>
                </c:pt>
                <c:pt idx="43">
                  <c:v>811.86990650594453</c:v>
                </c:pt>
                <c:pt idx="44">
                  <c:v>818.99905398252486</c:v>
                </c:pt>
                <c:pt idx="45">
                  <c:v>826.25882754981103</c:v>
                </c:pt>
                <c:pt idx="46">
                  <c:v>833.63777976931669</c:v>
                </c:pt>
                <c:pt idx="47">
                  <c:v>841.15349213914851</c:v>
                </c:pt>
                <c:pt idx="48">
                  <c:v>848.81559659337836</c:v>
                </c:pt>
                <c:pt idx="49">
                  <c:v>856.63628115830579</c:v>
                </c:pt>
                <c:pt idx="50">
                  <c:v>864.62607205677341</c:v>
                </c:pt>
                <c:pt idx="51">
                  <c:v>872.7760557365873</c:v>
                </c:pt>
                <c:pt idx="52">
                  <c:v>881.08151254213408</c:v>
                </c:pt>
                <c:pt idx="53">
                  <c:v>889.55478549022155</c:v>
                </c:pt>
                <c:pt idx="54">
                  <c:v>898.20428213895684</c:v>
                </c:pt>
                <c:pt idx="55">
                  <c:v>907.02896489580053</c:v>
                </c:pt>
                <c:pt idx="56">
                  <c:v>916.02742583495638</c:v>
                </c:pt>
                <c:pt idx="57">
                  <c:v>925.20863883955462</c:v>
                </c:pt>
                <c:pt idx="58">
                  <c:v>934.57469212860997</c:v>
                </c:pt>
                <c:pt idx="59">
                  <c:v>944.12467715452476</c:v>
                </c:pt>
                <c:pt idx="60">
                  <c:v>953.87096314193514</c:v>
                </c:pt>
                <c:pt idx="61">
                  <c:v>963.80845848021454</c:v>
                </c:pt>
                <c:pt idx="62">
                  <c:v>973.94598619717908</c:v>
                </c:pt>
                <c:pt idx="63">
                  <c:v>984.28368741022678</c:v>
                </c:pt>
                <c:pt idx="64">
                  <c:v>994.82692987092923</c:v>
                </c:pt>
                <c:pt idx="65">
                  <c:v>1005.5786602581629</c:v>
                </c:pt>
                <c:pt idx="66">
                  <c:v>1016.5454963802258</c:v>
                </c:pt>
                <c:pt idx="67">
                  <c:v>1027.7272577373005</c:v>
                </c:pt>
                <c:pt idx="68">
                  <c:v>1039.1297078206608</c:v>
                </c:pt>
                <c:pt idx="69">
                  <c:v>1050.752300815795</c:v>
                </c:pt>
                <c:pt idx="70">
                  <c:v>1062.60383949889</c:v>
                </c:pt>
                <c:pt idx="71">
                  <c:v>1074.6881713551902</c:v>
                </c:pt>
                <c:pt idx="72">
                  <c:v>1087.0052372962291</c:v>
                </c:pt>
                <c:pt idx="73">
                  <c:v>1099.5638135835052</c:v>
                </c:pt>
                <c:pt idx="74">
                  <c:v>1112.3683081116869</c:v>
                </c:pt>
                <c:pt idx="75">
                  <c:v>1125.4183872238882</c:v>
                </c:pt>
                <c:pt idx="76">
                  <c:v>1138.7198482274653</c:v>
                </c:pt>
                <c:pt idx="77">
                  <c:v>1152.2796449357993</c:v>
                </c:pt>
                <c:pt idx="78">
                  <c:v>1166.1016708452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2</c:v>
                </c:pt>
                <c:pt idx="2">
                  <c:v>16</c:v>
                </c:pt>
                <c:pt idx="3">
                  <c:v>23</c:v>
                </c:pt>
                <c:pt idx="4">
                  <c:v>28</c:v>
                </c:pt>
                <c:pt idx="5">
                  <c:v>32</c:v>
                </c:pt>
                <c:pt idx="6">
                  <c:v>35</c:v>
                </c:pt>
                <c:pt idx="7">
                  <c:v>39</c:v>
                </c:pt>
                <c:pt idx="8">
                  <c:v>42</c:v>
                </c:pt>
                <c:pt idx="9">
                  <c:v>47</c:v>
                </c:pt>
                <c:pt idx="10">
                  <c:v>58</c:v>
                </c:pt>
                <c:pt idx="11">
                  <c:v>63</c:v>
                </c:pt>
                <c:pt idx="12">
                  <c:v>66</c:v>
                </c:pt>
                <c:pt idx="13">
                  <c:v>73</c:v>
                </c:pt>
                <c:pt idx="14">
                  <c:v>76</c:v>
                </c:pt>
                <c:pt idx="15">
                  <c:v>79</c:v>
                </c:pt>
                <c:pt idx="16">
                  <c:v>81</c:v>
                </c:pt>
                <c:pt idx="17">
                  <c:v>85</c:v>
                </c:pt>
                <c:pt idx="18">
                  <c:v>86</c:v>
                </c:pt>
                <c:pt idx="19">
                  <c:v>88</c:v>
                </c:pt>
                <c:pt idx="20">
                  <c:v>91</c:v>
                </c:pt>
                <c:pt idx="21">
                  <c:v>92</c:v>
                </c:pt>
                <c:pt idx="22">
                  <c:v>93</c:v>
                </c:pt>
                <c:pt idx="23">
                  <c:v>95</c:v>
                </c:pt>
                <c:pt idx="24">
                  <c:v>96</c:v>
                </c:pt>
                <c:pt idx="25">
                  <c:v>98</c:v>
                </c:pt>
                <c:pt idx="26">
                  <c:v>99</c:v>
                </c:pt>
                <c:pt idx="27">
                  <c:v>100</c:v>
                </c:pt>
                <c:pt idx="28">
                  <c:v>100</c:v>
                </c:pt>
                <c:pt idx="29">
                  <c:v>102</c:v>
                </c:pt>
                <c:pt idx="30">
                  <c:v>102</c:v>
                </c:pt>
                <c:pt idx="31">
                  <c:v>102</c:v>
                </c:pt>
                <c:pt idx="32">
                  <c:v>103</c:v>
                </c:pt>
                <c:pt idx="33">
                  <c:v>108</c:v>
                </c:pt>
                <c:pt idx="34">
                  <c:v>110</c:v>
                </c:pt>
                <c:pt idx="35">
                  <c:v>111</c:v>
                </c:pt>
                <c:pt idx="36">
                  <c:v>113</c:v>
                </c:pt>
                <c:pt idx="37">
                  <c:v>113</c:v>
                </c:pt>
                <c:pt idx="38">
                  <c:v>115</c:v>
                </c:pt>
                <c:pt idx="39">
                  <c:v>116</c:v>
                </c:pt>
                <c:pt idx="40">
                  <c:v>117</c:v>
                </c:pt>
                <c:pt idx="41">
                  <c:v>117</c:v>
                </c:pt>
                <c:pt idx="42">
                  <c:v>117</c:v>
                </c:pt>
                <c:pt idx="43">
                  <c:v>117</c:v>
                </c:pt>
                <c:pt idx="44">
                  <c:v>117</c:v>
                </c:pt>
                <c:pt idx="45">
                  <c:v>117</c:v>
                </c:pt>
                <c:pt idx="46">
                  <c:v>117</c:v>
                </c:pt>
                <c:pt idx="47">
                  <c:v>118</c:v>
                </c:pt>
                <c:pt idx="48">
                  <c:v>119</c:v>
                </c:pt>
                <c:pt idx="49">
                  <c:v>119</c:v>
                </c:pt>
                <c:pt idx="50">
                  <c:v>119</c:v>
                </c:pt>
                <c:pt idx="51">
                  <c:v>119</c:v>
                </c:pt>
                <c:pt idx="52">
                  <c:v>119</c:v>
                </c:pt>
                <c:pt idx="53">
                  <c:v>119</c:v>
                </c:pt>
                <c:pt idx="54">
                  <c:v>11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1.85029714880316</c:v>
                </c:pt>
                <c:pt idx="32">
                  <c:v>102.65031579898842</c:v>
                </c:pt>
                <c:pt idx="33">
                  <c:v>103.40113190629863</c:v>
                </c:pt>
                <c:pt idx="34">
                  <c:v>104.09927833815465</c:v>
                </c:pt>
                <c:pt idx="35">
                  <c:v>104.75382644775192</c:v>
                </c:pt>
                <c:pt idx="36">
                  <c:v>105.37836837914629</c:v>
                </c:pt>
                <c:pt idx="37">
                  <c:v>105.9697765033478</c:v>
                </c:pt>
                <c:pt idx="38">
                  <c:v>106.52607446802739</c:v>
                </c:pt>
                <c:pt idx="39">
                  <c:v>107.05382887303001</c:v>
                </c:pt>
                <c:pt idx="40">
                  <c:v>107.55317795538879</c:v>
                </c:pt>
                <c:pt idx="41">
                  <c:v>108.02149917816965</c:v>
                </c:pt>
                <c:pt idx="42">
                  <c:v>108.46792608839175</c:v>
                </c:pt>
                <c:pt idx="43">
                  <c:v>108.89046897609758</c:v>
                </c:pt>
                <c:pt idx="44">
                  <c:v>109.29271514332001</c:v>
                </c:pt>
                <c:pt idx="45">
                  <c:v>109.67293943444304</c:v>
                </c:pt>
                <c:pt idx="46">
                  <c:v>110.03286578368571</c:v>
                </c:pt>
                <c:pt idx="47">
                  <c:v>110.37311572591425</c:v>
                </c:pt>
                <c:pt idx="48">
                  <c:v>110.69462813811494</c:v>
                </c:pt>
                <c:pt idx="49">
                  <c:v>111.00015295770825</c:v>
                </c:pt>
                <c:pt idx="50">
                  <c:v>111.29091319006174</c:v>
                </c:pt>
                <c:pt idx="51">
                  <c:v>111.56703739785783</c:v>
                </c:pt>
                <c:pt idx="52">
                  <c:v>111.82948418610879</c:v>
                </c:pt>
                <c:pt idx="53">
                  <c:v>112.0792032370455</c:v>
                </c:pt>
                <c:pt idx="54">
                  <c:v>112.31666557678113</c:v>
                </c:pt>
                <c:pt idx="55">
                  <c:v>112.54259013194745</c:v>
                </c:pt>
                <c:pt idx="56">
                  <c:v>112.75781477805238</c:v>
                </c:pt>
                <c:pt idx="57">
                  <c:v>112.96318003129498</c:v>
                </c:pt>
                <c:pt idx="58">
                  <c:v>113.1590386407227</c:v>
                </c:pt>
                <c:pt idx="59">
                  <c:v>113.34645474316358</c:v>
                </c:pt>
                <c:pt idx="60">
                  <c:v>113.52561650383963</c:v>
                </c:pt>
                <c:pt idx="61">
                  <c:v>113.69689810119866</c:v>
                </c:pt>
                <c:pt idx="62">
                  <c:v>113.86079577473905</c:v>
                </c:pt>
                <c:pt idx="63">
                  <c:v>114.01808501862692</c:v>
                </c:pt>
                <c:pt idx="64">
                  <c:v>114.16876489641589</c:v>
                </c:pt>
                <c:pt idx="65">
                  <c:v>114.3135406614071</c:v>
                </c:pt>
                <c:pt idx="66">
                  <c:v>114.45274254442083</c:v>
                </c:pt>
                <c:pt idx="67">
                  <c:v>114.58711950719051</c:v>
                </c:pt>
                <c:pt idx="68">
                  <c:v>114.71621980455987</c:v>
                </c:pt>
                <c:pt idx="69">
                  <c:v>114.84100061706644</c:v>
                </c:pt>
                <c:pt idx="70">
                  <c:v>114.96136702895724</c:v>
                </c:pt>
                <c:pt idx="71">
                  <c:v>115.07750464324299</c:v>
                </c:pt>
                <c:pt idx="72">
                  <c:v>115.18998792335938</c:v>
                </c:pt>
                <c:pt idx="73">
                  <c:v>115.29868361445641</c:v>
                </c:pt>
                <c:pt idx="74">
                  <c:v>115.40450236134511</c:v>
                </c:pt>
                <c:pt idx="75">
                  <c:v>115.50697083683795</c:v>
                </c:pt>
                <c:pt idx="76">
                  <c:v>115.60652751954848</c:v>
                </c:pt>
                <c:pt idx="77">
                  <c:v>115.70290012090558</c:v>
                </c:pt>
                <c:pt idx="78">
                  <c:v>115.7969724239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1.86614358835662</c:v>
                </c:pt>
                <c:pt idx="32">
                  <c:v>102.69546502983761</c:v>
                </c:pt>
                <c:pt idx="33">
                  <c:v>103.48703019384298</c:v>
                </c:pt>
                <c:pt idx="34">
                  <c:v>104.23590890133299</c:v>
                </c:pt>
                <c:pt idx="35">
                  <c:v>104.95276252762366</c:v>
                </c:pt>
                <c:pt idx="36">
                  <c:v>105.65366758936609</c:v>
                </c:pt>
                <c:pt idx="37">
                  <c:v>106.3383503658395</c:v>
                </c:pt>
                <c:pt idx="38">
                  <c:v>107.00529886475788</c:v>
                </c:pt>
                <c:pt idx="39">
                  <c:v>107.65938307744452</c:v>
                </c:pt>
                <c:pt idx="40">
                  <c:v>108.30005289300816</c:v>
                </c:pt>
                <c:pt idx="41">
                  <c:v>108.92390252624909</c:v>
                </c:pt>
                <c:pt idx="42">
                  <c:v>109.54057478276232</c:v>
                </c:pt>
                <c:pt idx="43">
                  <c:v>110.14809966293382</c:v>
                </c:pt>
                <c:pt idx="44">
                  <c:v>110.74880979908652</c:v>
                </c:pt>
                <c:pt idx="45">
                  <c:v>111.33991909929154</c:v>
                </c:pt>
                <c:pt idx="46">
                  <c:v>111.92143502963002</c:v>
                </c:pt>
                <c:pt idx="47">
                  <c:v>112.49336217522043</c:v>
                </c:pt>
                <c:pt idx="48">
                  <c:v>113.0563715939125</c:v>
                </c:pt>
                <c:pt idx="49">
                  <c:v>113.61193715902019</c:v>
                </c:pt>
                <c:pt idx="50">
                  <c:v>114.16058265978563</c:v>
                </c:pt>
                <c:pt idx="51">
                  <c:v>114.7022246399077</c:v>
                </c:pt>
                <c:pt idx="52">
                  <c:v>115.23644229357099</c:v>
                </c:pt>
                <c:pt idx="53">
                  <c:v>115.76343561390948</c:v>
                </c:pt>
                <c:pt idx="54">
                  <c:v>116.28355435447719</c:v>
                </c:pt>
                <c:pt idx="55">
                  <c:v>116.79671617459802</c:v>
                </c:pt>
                <c:pt idx="56">
                  <c:v>117.30327315205395</c:v>
                </c:pt>
                <c:pt idx="57">
                  <c:v>117.80328120695251</c:v>
                </c:pt>
                <c:pt idx="58">
                  <c:v>118.29700592180741</c:v>
                </c:pt>
                <c:pt idx="59">
                  <c:v>118.78433348475397</c:v>
                </c:pt>
                <c:pt idx="60">
                  <c:v>119.26579260141153</c:v>
                </c:pt>
                <c:pt idx="61">
                  <c:v>119.74115918667258</c:v>
                </c:pt>
                <c:pt idx="62">
                  <c:v>120.21060717351004</c:v>
                </c:pt>
                <c:pt idx="63">
                  <c:v>120.67420014695215</c:v>
                </c:pt>
                <c:pt idx="64">
                  <c:v>121.13200569812676</c:v>
                </c:pt>
                <c:pt idx="65">
                  <c:v>121.58452304101252</c:v>
                </c:pt>
                <c:pt idx="66">
                  <c:v>122.03151268574561</c:v>
                </c:pt>
                <c:pt idx="67">
                  <c:v>122.47299071417102</c:v>
                </c:pt>
                <c:pt idx="68">
                  <c:v>122.90943891881854</c:v>
                </c:pt>
                <c:pt idx="69">
                  <c:v>123.3405898599099</c:v>
                </c:pt>
                <c:pt idx="70">
                  <c:v>123.76688275602238</c:v>
                </c:pt>
                <c:pt idx="71">
                  <c:v>124.18804969536598</c:v>
                </c:pt>
                <c:pt idx="72">
                  <c:v>124.60450650886702</c:v>
                </c:pt>
                <c:pt idx="73">
                  <c:v>125.015945465298</c:v>
                </c:pt>
                <c:pt idx="74">
                  <c:v>125.42279673626186</c:v>
                </c:pt>
                <c:pt idx="75">
                  <c:v>125.82517451397695</c:v>
                </c:pt>
                <c:pt idx="76">
                  <c:v>126.22274712405664</c:v>
                </c:pt>
                <c:pt idx="77">
                  <c:v>126.61633034297228</c:v>
                </c:pt>
                <c:pt idx="78">
                  <c:v>127.00531576290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1.88199002790978</c:v>
                </c:pt>
                <c:pt idx="32">
                  <c:v>102.74105443956284</c:v>
                </c:pt>
                <c:pt idx="33">
                  <c:v>103.57352235837352</c:v>
                </c:pt>
                <c:pt idx="34">
                  <c:v>104.37282422066367</c:v>
                </c:pt>
                <c:pt idx="35">
                  <c:v>105.15371483036803</c:v>
                </c:pt>
                <c:pt idx="36">
                  <c:v>105.93555218858566</c:v>
                </c:pt>
                <c:pt idx="37">
                  <c:v>106.72201388548253</c:v>
                </c:pt>
                <c:pt idx="38">
                  <c:v>107.51373032373857</c:v>
                </c:pt>
                <c:pt idx="39">
                  <c:v>108.31314478276019</c:v>
                </c:pt>
                <c:pt idx="40">
                  <c:v>109.11936604804251</c:v>
                </c:pt>
                <c:pt idx="41">
                  <c:v>109.93094956303133</c:v>
                </c:pt>
                <c:pt idx="42">
                  <c:v>110.75972761910957</c:v>
                </c:pt>
                <c:pt idx="43">
                  <c:v>111.60537815699492</c:v>
                </c:pt>
                <c:pt idx="44">
                  <c:v>112.46939747535851</c:v>
                </c:pt>
                <c:pt idx="45">
                  <c:v>113.34913028259227</c:v>
                </c:pt>
                <c:pt idx="46">
                  <c:v>114.24369228084248</c:v>
                </c:pt>
                <c:pt idx="47">
                  <c:v>115.15468627065236</c:v>
                </c:pt>
                <c:pt idx="48">
                  <c:v>116.08326348786535</c:v>
                </c:pt>
                <c:pt idx="49">
                  <c:v>117.03137166238565</c:v>
                </c:pt>
                <c:pt idx="50">
                  <c:v>117.99990764998967</c:v>
                </c:pt>
                <c:pt idx="51">
                  <c:v>118.98774386274795</c:v>
                </c:pt>
                <c:pt idx="52">
                  <c:v>119.99458748074362</c:v>
                </c:pt>
                <c:pt idx="53">
                  <c:v>121.02193716231042</c:v>
                </c:pt>
                <c:pt idx="54">
                  <c:v>122.0705876603794</c:v>
                </c:pt>
                <c:pt idx="55">
                  <c:v>123.14040927340129</c:v>
                </c:pt>
                <c:pt idx="56">
                  <c:v>124.23147772116421</c:v>
                </c:pt>
                <c:pt idx="57">
                  <c:v>125.34471443460296</c:v>
                </c:pt>
                <c:pt idx="58">
                  <c:v>126.48021172908037</c:v>
                </c:pt>
                <c:pt idx="59">
                  <c:v>127.63803640519372</c:v>
                </c:pt>
                <c:pt idx="60">
                  <c:v>128.81970235073763</c:v>
                </c:pt>
                <c:pt idx="61">
                  <c:v>130.02453879200806</c:v>
                </c:pt>
                <c:pt idx="62">
                  <c:v>131.25364170076105</c:v>
                </c:pt>
                <c:pt idx="63">
                  <c:v>132.50702010817932</c:v>
                </c:pt>
                <c:pt idx="64">
                  <c:v>133.78532118506553</c:v>
                </c:pt>
                <c:pt idx="65">
                  <c:v>135.08889465991186</c:v>
                </c:pt>
                <c:pt idx="66">
                  <c:v>136.41854250773406</c:v>
                </c:pt>
                <c:pt idx="67">
                  <c:v>137.77425229976924</c:v>
                </c:pt>
                <c:pt idx="68">
                  <c:v>139.15672653016119</c:v>
                </c:pt>
                <c:pt idx="69">
                  <c:v>140.56590083179887</c:v>
                </c:pt>
                <c:pt idx="70">
                  <c:v>142.00283400769172</c:v>
                </c:pt>
                <c:pt idx="71">
                  <c:v>143.46799016215746</c:v>
                </c:pt>
                <c:pt idx="72">
                  <c:v>144.96137569778497</c:v>
                </c:pt>
                <c:pt idx="73">
                  <c:v>146.48404441145934</c:v>
                </c:pt>
                <c:pt idx="74">
                  <c:v>148.03652936644275</c:v>
                </c:pt>
                <c:pt idx="75">
                  <c:v>149.61879351002023</c:v>
                </c:pt>
                <c:pt idx="76">
                  <c:v>151.23154423231563</c:v>
                </c:pt>
                <c:pt idx="77">
                  <c:v>152.87561231228077</c:v>
                </c:pt>
                <c:pt idx="78">
                  <c:v>154.55147167869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2</c:v>
                </c:pt>
                <c:pt idx="3">
                  <c:v>14</c:v>
                </c:pt>
                <c:pt idx="4">
                  <c:v>17</c:v>
                </c:pt>
                <c:pt idx="5">
                  <c:v>19</c:v>
                </c:pt>
                <c:pt idx="6">
                  <c:v>23</c:v>
                </c:pt>
                <c:pt idx="7">
                  <c:v>24</c:v>
                </c:pt>
                <c:pt idx="8">
                  <c:v>26</c:v>
                </c:pt>
                <c:pt idx="9">
                  <c:v>27</c:v>
                </c:pt>
                <c:pt idx="10">
                  <c:v>28</c:v>
                </c:pt>
                <c:pt idx="11">
                  <c:v>31</c:v>
                </c:pt>
                <c:pt idx="12">
                  <c:v>31</c:v>
                </c:pt>
                <c:pt idx="13">
                  <c:v>32</c:v>
                </c:pt>
                <c:pt idx="14">
                  <c:v>34</c:v>
                </c:pt>
                <c:pt idx="15">
                  <c:v>35</c:v>
                </c:pt>
                <c:pt idx="16">
                  <c:v>38</c:v>
                </c:pt>
                <c:pt idx="17">
                  <c:v>39</c:v>
                </c:pt>
                <c:pt idx="18">
                  <c:v>42</c:v>
                </c:pt>
                <c:pt idx="19">
                  <c:v>42</c:v>
                </c:pt>
                <c:pt idx="20">
                  <c:v>44</c:v>
                </c:pt>
                <c:pt idx="21">
                  <c:v>46</c:v>
                </c:pt>
                <c:pt idx="22">
                  <c:v>48</c:v>
                </c:pt>
                <c:pt idx="23">
                  <c:v>49</c:v>
                </c:pt>
                <c:pt idx="24">
                  <c:v>49</c:v>
                </c:pt>
                <c:pt idx="25">
                  <c:v>51</c:v>
                </c:pt>
                <c:pt idx="26">
                  <c:v>51</c:v>
                </c:pt>
                <c:pt idx="27">
                  <c:v>51</c:v>
                </c:pt>
                <c:pt idx="28">
                  <c:v>52</c:v>
                </c:pt>
                <c:pt idx="29">
                  <c:v>52</c:v>
                </c:pt>
                <c:pt idx="30">
                  <c:v>52</c:v>
                </c:pt>
                <c:pt idx="31">
                  <c:v>52</c:v>
                </c:pt>
                <c:pt idx="32">
                  <c:v>52</c:v>
                </c:pt>
                <c:pt idx="33">
                  <c:v>52</c:v>
                </c:pt>
                <c:pt idx="34">
                  <c:v>52</c:v>
                </c:pt>
                <c:pt idx="35">
                  <c:v>52</c:v>
                </c:pt>
                <c:pt idx="36">
                  <c:v>52</c:v>
                </c:pt>
                <c:pt idx="37">
                  <c:v>53</c:v>
                </c:pt>
                <c:pt idx="38">
                  <c:v>53</c:v>
                </c:pt>
                <c:pt idx="39">
                  <c:v>54</c:v>
                </c:pt>
                <c:pt idx="40">
                  <c:v>54</c:v>
                </c:pt>
                <c:pt idx="41">
                  <c:v>54</c:v>
                </c:pt>
                <c:pt idx="42">
                  <c:v>54</c:v>
                </c:pt>
                <c:pt idx="43">
                  <c:v>54</c:v>
                </c:pt>
                <c:pt idx="44">
                  <c:v>54</c:v>
                </c:pt>
                <c:pt idx="45">
                  <c:v>54</c:v>
                </c:pt>
                <c:pt idx="46">
                  <c:v>54</c:v>
                </c:pt>
                <c:pt idx="47">
                  <c:v>54</c:v>
                </c:pt>
                <c:pt idx="48">
                  <c:v>54</c:v>
                </c:pt>
                <c:pt idx="49">
                  <c:v>54</c:v>
                </c:pt>
                <c:pt idx="50">
                  <c:v>54</c:v>
                </c:pt>
                <c:pt idx="51">
                  <c:v>54</c:v>
                </c:pt>
                <c:pt idx="52">
                  <c:v>54</c:v>
                </c:pt>
                <c:pt idx="53">
                  <c:v>54</c:v>
                </c:pt>
                <c:pt idx="54">
                  <c:v>5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.45428077413731</c:v>
                </c:pt>
                <c:pt idx="32">
                  <c:v>51.88232558784761</c:v>
                </c:pt>
                <c:pt idx="33">
                  <c:v>52.284038878748625</c:v>
                </c:pt>
                <c:pt idx="34">
                  <c:v>52.657441882437361</c:v>
                </c:pt>
                <c:pt idx="35">
                  <c:v>53.007751538186682</c:v>
                </c:pt>
                <c:pt idx="36">
                  <c:v>53.342135538873784</c:v>
                </c:pt>
                <c:pt idx="37">
                  <c:v>53.658748666680189</c:v>
                </c:pt>
                <c:pt idx="38">
                  <c:v>53.956728564842926</c:v>
                </c:pt>
                <c:pt idx="39">
                  <c:v>54.239646567709741</c:v>
                </c:pt>
                <c:pt idx="40">
                  <c:v>54.507326492991027</c:v>
                </c:pt>
                <c:pt idx="41">
                  <c:v>54.758347683521727</c:v>
                </c:pt>
                <c:pt idx="42">
                  <c:v>54.997749887849572</c:v>
                </c:pt>
                <c:pt idx="43">
                  <c:v>55.224316987787262</c:v>
                </c:pt>
                <c:pt idx="44">
                  <c:v>55.440069720909051</c:v>
                </c:pt>
                <c:pt idx="45">
                  <c:v>55.643973306061433</c:v>
                </c:pt>
                <c:pt idx="46">
                  <c:v>55.837046266067055</c:v>
                </c:pt>
                <c:pt idx="47">
                  <c:v>56.019542982154903</c:v>
                </c:pt>
                <c:pt idx="48">
                  <c:v>56.191967797875094</c:v>
                </c:pt>
                <c:pt idx="49">
                  <c:v>56.355866498741321</c:v>
                </c:pt>
                <c:pt idx="50">
                  <c:v>56.511825101574601</c:v>
                </c:pt>
                <c:pt idx="51">
                  <c:v>56.659907822106206</c:v>
                </c:pt>
                <c:pt idx="52">
                  <c:v>56.800670797789131</c:v>
                </c:pt>
                <c:pt idx="53">
                  <c:v>56.934628169437701</c:v>
                </c:pt>
                <c:pt idx="54">
                  <c:v>57.062000065954948</c:v>
                </c:pt>
                <c:pt idx="55">
                  <c:v>57.183172274810097</c:v>
                </c:pt>
                <c:pt idx="56">
                  <c:v>57.298631204740076</c:v>
                </c:pt>
                <c:pt idx="57">
                  <c:v>57.408799075464785</c:v>
                </c:pt>
                <c:pt idx="58">
                  <c:v>57.513843359997914</c:v>
                </c:pt>
                <c:pt idx="59">
                  <c:v>57.614362649963752</c:v>
                </c:pt>
                <c:pt idx="60">
                  <c:v>57.710462174136438</c:v>
                </c:pt>
                <c:pt idx="61">
                  <c:v>57.802331863120756</c:v>
                </c:pt>
                <c:pt idx="62">
                  <c:v>57.890239885620751</c:v>
                </c:pt>
                <c:pt idx="63">
                  <c:v>57.974602006368791</c:v>
                </c:pt>
                <c:pt idx="64">
                  <c:v>58.055418730783053</c:v>
                </c:pt>
                <c:pt idx="65">
                  <c:v>58.133068477016252</c:v>
                </c:pt>
                <c:pt idx="66">
                  <c:v>58.207727101082419</c:v>
                </c:pt>
                <c:pt idx="67">
                  <c:v>58.279795919103179</c:v>
                </c:pt>
                <c:pt idx="68">
                  <c:v>58.349034721359402</c:v>
                </c:pt>
                <c:pt idx="69">
                  <c:v>58.415955876660199</c:v>
                </c:pt>
                <c:pt idx="70">
                  <c:v>58.480507699013245</c:v>
                </c:pt>
                <c:pt idx="71">
                  <c:v>58.542792026676842</c:v>
                </c:pt>
                <c:pt idx="72">
                  <c:v>58.603115831646399</c:v>
                </c:pt>
                <c:pt idx="73">
                  <c:v>58.661408525453759</c:v>
                </c:pt>
                <c:pt idx="74">
                  <c:v>58.718156806438706</c:v>
                </c:pt>
                <c:pt idx="75">
                  <c:v>58.773108263115404</c:v>
                </c:pt>
                <c:pt idx="76">
                  <c:v>58.826498102167967</c:v>
                </c:pt>
                <c:pt idx="77">
                  <c:v>58.878180080525333</c:v>
                </c:pt>
                <c:pt idx="78">
                  <c:v>58.92862743877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.462742609689208</c:v>
                </c:pt>
                <c:pt idx="32">
                  <c:v>51.906421027292495</c:v>
                </c:pt>
                <c:pt idx="33">
                  <c:v>52.329880996006914</c:v>
                </c:pt>
                <c:pt idx="34">
                  <c:v>52.730357990972585</c:v>
                </c:pt>
                <c:pt idx="35">
                  <c:v>53.113919561222872</c:v>
                </c:pt>
                <c:pt idx="36">
                  <c:v>53.489075366898255</c:v>
                </c:pt>
                <c:pt idx="37">
                  <c:v>53.855525458444788</c:v>
                </c:pt>
                <c:pt idx="38">
                  <c:v>54.212660124406412</c:v>
                </c:pt>
                <c:pt idx="39">
                  <c:v>54.56314803868959</c:v>
                </c:pt>
                <c:pt idx="40">
                  <c:v>54.906454625908431</c:v>
                </c:pt>
                <c:pt idx="41">
                  <c:v>55.240735166874124</c:v>
                </c:pt>
                <c:pt idx="42">
                  <c:v>55.571292367260945</c:v>
                </c:pt>
                <c:pt idx="43">
                  <c:v>55.896924730078062</c:v>
                </c:pt>
                <c:pt idx="44">
                  <c:v>56.218977568986091</c:v>
                </c:pt>
                <c:pt idx="45">
                  <c:v>56.535855335572649</c:v>
                </c:pt>
                <c:pt idx="46">
                  <c:v>56.847649930812644</c:v>
                </c:pt>
                <c:pt idx="47">
                  <c:v>57.154281470003433</c:v>
                </c:pt>
                <c:pt idx="48">
                  <c:v>57.456109214095704</c:v>
                </c:pt>
                <c:pt idx="49">
                  <c:v>57.753996092469819</c:v>
                </c:pt>
                <c:pt idx="50">
                  <c:v>58.048157428568551</c:v>
                </c:pt>
                <c:pt idx="51">
                  <c:v>58.338540419099871</c:v>
                </c:pt>
                <c:pt idx="52">
                  <c:v>58.624962749858213</c:v>
                </c:pt>
                <c:pt idx="53">
                  <c:v>58.90753659483768</c:v>
                </c:pt>
                <c:pt idx="54">
                  <c:v>59.186414406327224</c:v>
                </c:pt>
                <c:pt idx="55">
                  <c:v>59.461550041878937</c:v>
                </c:pt>
                <c:pt idx="56">
                  <c:v>59.73317082006001</c:v>
                </c:pt>
                <c:pt idx="57">
                  <c:v>60.001280324837602</c:v>
                </c:pt>
                <c:pt idx="58">
                  <c:v>60.26599684674067</c:v>
                </c:pt>
                <c:pt idx="59">
                  <c:v>60.527286884980214</c:v>
                </c:pt>
                <c:pt idx="60">
                  <c:v>60.785438630649793</c:v>
                </c:pt>
                <c:pt idx="61">
                  <c:v>61.040320855306319</c:v>
                </c:pt>
                <c:pt idx="62">
                  <c:v>61.292029644578527</c:v>
                </c:pt>
                <c:pt idx="63">
                  <c:v>61.540599327479072</c:v>
                </c:pt>
                <c:pt idx="64">
                  <c:v>61.786065845247037</c:v>
                </c:pt>
                <c:pt idx="65">
                  <c:v>62.028696071808604</c:v>
                </c:pt>
                <c:pt idx="66">
                  <c:v>62.268361442686896</c:v>
                </c:pt>
                <c:pt idx="67">
                  <c:v>62.505071792523594</c:v>
                </c:pt>
                <c:pt idx="68">
                  <c:v>62.739084821882301</c:v>
                </c:pt>
                <c:pt idx="69">
                  <c:v>62.970257071162266</c:v>
                </c:pt>
                <c:pt idx="70">
                  <c:v>63.198824330525873</c:v>
                </c:pt>
                <c:pt idx="71">
                  <c:v>63.424642882249593</c:v>
                </c:pt>
                <c:pt idx="72">
                  <c:v>63.647935622275412</c:v>
                </c:pt>
                <c:pt idx="73">
                  <c:v>63.868538076425303</c:v>
                </c:pt>
                <c:pt idx="74">
                  <c:v>64.08668107456738</c:v>
                </c:pt>
                <c:pt idx="75">
                  <c:v>64.302424796679574</c:v>
                </c:pt>
                <c:pt idx="76">
                  <c:v>64.515592331088385</c:v>
                </c:pt>
                <c:pt idx="77">
                  <c:v>64.726620284955644</c:v>
                </c:pt>
                <c:pt idx="78">
                  <c:v>64.935182479572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.471204445240943</c:v>
                </c:pt>
                <c:pt idx="32">
                  <c:v>51.930751517724687</c:v>
                </c:pt>
                <c:pt idx="33">
                  <c:v>52.376039854545972</c:v>
                </c:pt>
                <c:pt idx="34">
                  <c:v>52.803425989516398</c:v>
                </c:pt>
                <c:pt idx="35">
                  <c:v>53.221164329646605</c:v>
                </c:pt>
                <c:pt idx="36">
                  <c:v>53.639530067787433</c:v>
                </c:pt>
                <c:pt idx="37">
                  <c:v>54.060356299191525</c:v>
                </c:pt>
                <c:pt idx="38">
                  <c:v>54.484180867990709</c:v>
                </c:pt>
                <c:pt idx="39">
                  <c:v>54.912378307140372</c:v>
                </c:pt>
                <c:pt idx="40">
                  <c:v>55.344244995442139</c:v>
                </c:pt>
                <c:pt idx="41">
                  <c:v>55.778980973977617</c:v>
                </c:pt>
                <c:pt idx="42">
                  <c:v>56.223050853100311</c:v>
                </c:pt>
                <c:pt idx="43">
                  <c:v>56.676142986052504</c:v>
                </c:pt>
                <c:pt idx="44">
                  <c:v>57.139155343986019</c:v>
                </c:pt>
                <c:pt idx="45">
                  <c:v>57.610569322714255</c:v>
                </c:pt>
                <c:pt idx="46">
                  <c:v>58.089992001611016</c:v>
                </c:pt>
                <c:pt idx="47">
                  <c:v>58.578197324176848</c:v>
                </c:pt>
                <c:pt idx="48">
                  <c:v>59.075799624475032</c:v>
                </c:pt>
                <c:pt idx="49">
                  <c:v>59.583918387546447</c:v>
                </c:pt>
                <c:pt idx="50">
                  <c:v>60.10297325145644</c:v>
                </c:pt>
                <c:pt idx="51">
                  <c:v>60.632352349215395</c:v>
                </c:pt>
                <c:pt idx="52">
                  <c:v>61.171943691433981</c:v>
                </c:pt>
                <c:pt idx="53">
                  <c:v>61.722550823396375</c:v>
                </c:pt>
                <c:pt idx="54">
                  <c:v>62.284563558511657</c:v>
                </c:pt>
                <c:pt idx="55">
                  <c:v>62.857911756370385</c:v>
                </c:pt>
                <c:pt idx="56">
                  <c:v>63.442675638711009</c:v>
                </c:pt>
                <c:pt idx="57">
                  <c:v>64.039322243907563</c:v>
                </c:pt>
                <c:pt idx="58">
                  <c:v>64.647875170414665</c:v>
                </c:pt>
                <c:pt idx="59">
                  <c:v>65.268398685357013</c:v>
                </c:pt>
                <c:pt idx="60">
                  <c:v>65.901706434891139</c:v>
                </c:pt>
                <c:pt idx="61">
                  <c:v>66.547430322653895</c:v>
                </c:pt>
                <c:pt idx="62">
                  <c:v>67.206161950762635</c:v>
                </c:pt>
                <c:pt idx="63">
                  <c:v>67.877904859932585</c:v>
                </c:pt>
                <c:pt idx="64">
                  <c:v>68.563005314096671</c:v>
                </c:pt>
                <c:pt idx="65">
                  <c:v>69.261649536357396</c:v>
                </c:pt>
                <c:pt idx="66">
                  <c:v>69.974267279001765</c:v>
                </c:pt>
                <c:pt idx="67">
                  <c:v>70.700853401948592</c:v>
                </c:pt>
                <c:pt idx="68">
                  <c:v>71.44178500057815</c:v>
                </c:pt>
                <c:pt idx="69">
                  <c:v>72.197027868658182</c:v>
                </c:pt>
                <c:pt idx="70">
                  <c:v>72.967148103785561</c:v>
                </c:pt>
                <c:pt idx="71">
                  <c:v>73.752394058192891</c:v>
                </c:pt>
                <c:pt idx="72">
                  <c:v>74.552771345693202</c:v>
                </c:pt>
                <c:pt idx="73">
                  <c:v>75.368843092703827</c:v>
                </c:pt>
                <c:pt idx="74">
                  <c:v>76.200894772665677</c:v>
                </c:pt>
                <c:pt idx="75">
                  <c:v>77.048907074424079</c:v>
                </c:pt>
                <c:pt idx="76">
                  <c:v>77.913259845386392</c:v>
                </c:pt>
                <c:pt idx="77">
                  <c:v>78.794396355376861</c:v>
                </c:pt>
                <c:pt idx="78">
                  <c:v>79.692570905016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0</c:v>
                </c:pt>
                <c:pt idx="2">
                  <c:v>12</c:v>
                </c:pt>
                <c:pt idx="3">
                  <c:v>13</c:v>
                </c:pt>
                <c:pt idx="4">
                  <c:v>16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5</c:v>
                </c:pt>
                <c:pt idx="9">
                  <c:v>29</c:v>
                </c:pt>
                <c:pt idx="10">
                  <c:v>30</c:v>
                </c:pt>
                <c:pt idx="11">
                  <c:v>30</c:v>
                </c:pt>
                <c:pt idx="12">
                  <c:v>31</c:v>
                </c:pt>
                <c:pt idx="13">
                  <c:v>33</c:v>
                </c:pt>
                <c:pt idx="14">
                  <c:v>34</c:v>
                </c:pt>
                <c:pt idx="15">
                  <c:v>35</c:v>
                </c:pt>
                <c:pt idx="16">
                  <c:v>37</c:v>
                </c:pt>
                <c:pt idx="17">
                  <c:v>38</c:v>
                </c:pt>
                <c:pt idx="18">
                  <c:v>39</c:v>
                </c:pt>
                <c:pt idx="19">
                  <c:v>41</c:v>
                </c:pt>
                <c:pt idx="20">
                  <c:v>41</c:v>
                </c:pt>
                <c:pt idx="21">
                  <c:v>42</c:v>
                </c:pt>
                <c:pt idx="22">
                  <c:v>42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6</c:v>
                </c:pt>
                <c:pt idx="31">
                  <c:v>47</c:v>
                </c:pt>
                <c:pt idx="32">
                  <c:v>48</c:v>
                </c:pt>
                <c:pt idx="33">
                  <c:v>48</c:v>
                </c:pt>
                <c:pt idx="34">
                  <c:v>48</c:v>
                </c:pt>
                <c:pt idx="35">
                  <c:v>48</c:v>
                </c:pt>
                <c:pt idx="36">
                  <c:v>48</c:v>
                </c:pt>
                <c:pt idx="37">
                  <c:v>49</c:v>
                </c:pt>
                <c:pt idx="38">
                  <c:v>49</c:v>
                </c:pt>
                <c:pt idx="39">
                  <c:v>49</c:v>
                </c:pt>
                <c:pt idx="40">
                  <c:v>49</c:v>
                </c:pt>
                <c:pt idx="41">
                  <c:v>49</c:v>
                </c:pt>
                <c:pt idx="42">
                  <c:v>51</c:v>
                </c:pt>
                <c:pt idx="43">
                  <c:v>51</c:v>
                </c:pt>
                <c:pt idx="44">
                  <c:v>51</c:v>
                </c:pt>
                <c:pt idx="45">
                  <c:v>52</c:v>
                </c:pt>
                <c:pt idx="46">
                  <c:v>52</c:v>
                </c:pt>
                <c:pt idx="47">
                  <c:v>53</c:v>
                </c:pt>
                <c:pt idx="48">
                  <c:v>53</c:v>
                </c:pt>
                <c:pt idx="49">
                  <c:v>53</c:v>
                </c:pt>
                <c:pt idx="50">
                  <c:v>53</c:v>
                </c:pt>
                <c:pt idx="51">
                  <c:v>53</c:v>
                </c:pt>
                <c:pt idx="52">
                  <c:v>53</c:v>
                </c:pt>
                <c:pt idx="53">
                  <c:v>53</c:v>
                </c:pt>
                <c:pt idx="54">
                  <c:v>5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6.408044377192098</c:v>
                </c:pt>
                <c:pt idx="32">
                  <c:v>46.792700573670139</c:v>
                </c:pt>
                <c:pt idx="33">
                  <c:v>47.153692628475852</c:v>
                </c:pt>
                <c:pt idx="34">
                  <c:v>47.489207324978295</c:v>
                </c:pt>
                <c:pt idx="35">
                  <c:v>47.80403568940973</c:v>
                </c:pt>
                <c:pt idx="36">
                  <c:v>48.104589215768065</c:v>
                </c:pt>
                <c:pt idx="37">
                  <c:v>48.389161075266315</c:v>
                </c:pt>
                <c:pt idx="38">
                  <c:v>48.657031566325365</c:v>
                </c:pt>
                <c:pt idx="39">
                  <c:v>48.911426417440296</c:v>
                </c:pt>
                <c:pt idx="40">
                  <c:v>49.152116468172913</c:v>
                </c:pt>
                <c:pt idx="41">
                  <c:v>49.377820114136341</c:v>
                </c:pt>
                <c:pt idx="42">
                  <c:v>49.593109551035596</c:v>
                </c:pt>
                <c:pt idx="43">
                  <c:v>49.796849019491376</c:v>
                </c:pt>
                <c:pt idx="44">
                  <c:v>49.990883133298574</c:v>
                </c:pt>
                <c:pt idx="45">
                  <c:v>50.174250356490326</c:v>
                </c:pt>
                <c:pt idx="46">
                  <c:v>50.347893195702625</c:v>
                </c:pt>
                <c:pt idx="47">
                  <c:v>50.512018111347579</c:v>
                </c:pt>
                <c:pt idx="48">
                  <c:v>50.667078891713757</c:v>
                </c:pt>
                <c:pt idx="49">
                  <c:v>50.814485717041521</c:v>
                </c:pt>
                <c:pt idx="50">
                  <c:v>50.954745848821233</c:v>
                </c:pt>
                <c:pt idx="51">
                  <c:v>51.087915699177366</c:v>
                </c:pt>
                <c:pt idx="52">
                  <c:v>51.214507278279768</c:v>
                </c:pt>
                <c:pt idx="53">
                  <c:v>51.33498431584372</c:v>
                </c:pt>
                <c:pt idx="54">
                  <c:v>51.449535596616286</c:v>
                </c:pt>
                <c:pt idx="55">
                  <c:v>51.55850812296535</c:v>
                </c:pt>
                <c:pt idx="56">
                  <c:v>51.662349790745481</c:v>
                </c:pt>
                <c:pt idx="57">
                  <c:v>51.761432235959134</c:v>
                </c:pt>
                <c:pt idx="58">
                  <c:v>51.855899934433488</c:v>
                </c:pt>
                <c:pt idx="59">
                  <c:v>51.946299079780857</c:v>
                </c:pt>
                <c:pt idx="60">
                  <c:v>52.032725523397666</c:v>
                </c:pt>
                <c:pt idx="61">
                  <c:v>52.115347035021706</c:v>
                </c:pt>
                <c:pt idx="62">
                  <c:v>52.194405353500429</c:v>
                </c:pt>
                <c:pt idx="63">
                  <c:v>52.270274338037822</c:v>
                </c:pt>
                <c:pt idx="64">
                  <c:v>52.342954727832108</c:v>
                </c:pt>
                <c:pt idx="65">
                  <c:v>52.412786887775702</c:v>
                </c:pt>
                <c:pt idx="66">
                  <c:v>52.479928612730617</c:v>
                </c:pt>
                <c:pt idx="67">
                  <c:v>52.544740706335496</c:v>
                </c:pt>
                <c:pt idx="68">
                  <c:v>52.607007730612644</c:v>
                </c:pt>
                <c:pt idx="69">
                  <c:v>52.667190184982289</c:v>
                </c:pt>
                <c:pt idx="70">
                  <c:v>52.725241367173652</c:v>
                </c:pt>
                <c:pt idx="71">
                  <c:v>52.781253509823692</c:v>
                </c:pt>
                <c:pt idx="72">
                  <c:v>52.835502358103412</c:v>
                </c:pt>
                <c:pt idx="73">
                  <c:v>52.887924679406503</c:v>
                </c:pt>
                <c:pt idx="74">
                  <c:v>52.938957686193454</c:v>
                </c:pt>
                <c:pt idx="75">
                  <c:v>52.988374790221549</c:v>
                </c:pt>
                <c:pt idx="76">
                  <c:v>53.036387526872979</c:v>
                </c:pt>
                <c:pt idx="77">
                  <c:v>53.082864319271515</c:v>
                </c:pt>
                <c:pt idx="78">
                  <c:v>53.128230545221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6.415643752608972</c:v>
                </c:pt>
                <c:pt idx="32">
                  <c:v>46.814336209552103</c:v>
                </c:pt>
                <c:pt idx="33">
                  <c:v>47.194854784092563</c:v>
                </c:pt>
                <c:pt idx="34">
                  <c:v>47.554679307311083</c:v>
                </c:pt>
                <c:pt idx="35">
                  <c:v>47.899365159077995</c:v>
                </c:pt>
                <c:pt idx="36">
                  <c:v>48.236533374612172</c:v>
                </c:pt>
                <c:pt idx="37">
                  <c:v>48.565870940913612</c:v>
                </c:pt>
                <c:pt idx="38">
                  <c:v>48.886886379638206</c:v>
                </c:pt>
                <c:pt idx="39">
                  <c:v>49.20199570065671</c:v>
                </c:pt>
                <c:pt idx="40">
                  <c:v>49.510650483193579</c:v>
                </c:pt>
                <c:pt idx="41">
                  <c:v>49.811186632631674</c:v>
                </c:pt>
                <c:pt idx="42">
                  <c:v>50.108409951798947</c:v>
                </c:pt>
                <c:pt idx="43">
                  <c:v>50.401198974496225</c:v>
                </c:pt>
                <c:pt idx="44">
                  <c:v>50.690790187728034</c:v>
                </c:pt>
                <c:pt idx="45">
                  <c:v>50.975720078511387</c:v>
                </c:pt>
                <c:pt idx="46">
                  <c:v>51.256096125864943</c:v>
                </c:pt>
                <c:pt idx="47">
                  <c:v>51.531823225879755</c:v>
                </c:pt>
                <c:pt idx="48">
                  <c:v>51.803224284247577</c:v>
                </c:pt>
                <c:pt idx="49">
                  <c:v>52.07109581246128</c:v>
                </c:pt>
                <c:pt idx="50">
                  <c:v>52.335612921674105</c:v>
                </c:pt>
                <c:pt idx="51">
                  <c:v>52.596725852889591</c:v>
                </c:pt>
                <c:pt idx="52">
                  <c:v>52.854282902321685</c:v>
                </c:pt>
                <c:pt idx="53">
                  <c:v>53.108386337246124</c:v>
                </c:pt>
                <c:pt idx="54">
                  <c:v>53.359163335587148</c:v>
                </c:pt>
                <c:pt idx="55">
                  <c:v>53.60657184122087</c:v>
                </c:pt>
                <c:pt idx="56">
                  <c:v>53.85082715824457</c:v>
                </c:pt>
                <c:pt idx="57">
                  <c:v>54.091925049512241</c:v>
                </c:pt>
                <c:pt idx="58">
                  <c:v>54.329965073146944</c:v>
                </c:pt>
                <c:pt idx="59">
                  <c:v>54.564924881529045</c:v>
                </c:pt>
                <c:pt idx="60">
                  <c:v>54.797064957220734</c:v>
                </c:pt>
                <c:pt idx="61">
                  <c:v>55.026264164351026</c:v>
                </c:pt>
                <c:pt idx="62">
                  <c:v>55.252609705182195</c:v>
                </c:pt>
                <c:pt idx="63">
                  <c:v>55.476132516270397</c:v>
                </c:pt>
                <c:pt idx="64">
                  <c:v>55.696864832545472</c:v>
                </c:pt>
                <c:pt idx="65">
                  <c:v>55.915046411984029</c:v>
                </c:pt>
                <c:pt idx="66">
                  <c:v>56.130561601092758</c:v>
                </c:pt>
                <c:pt idx="67">
                  <c:v>56.343419585986823</c:v>
                </c:pt>
                <c:pt idx="68">
                  <c:v>56.55385192300961</c:v>
                </c:pt>
                <c:pt idx="69">
                  <c:v>56.761729590175115</c:v>
                </c:pt>
                <c:pt idx="70">
                  <c:v>56.96726470031507</c:v>
                </c:pt>
                <c:pt idx="71">
                  <c:v>57.170327997906192</c:v>
                </c:pt>
                <c:pt idx="72">
                  <c:v>57.371119900739579</c:v>
                </c:pt>
                <c:pt idx="73">
                  <c:v>57.56949265618475</c:v>
                </c:pt>
                <c:pt idx="74">
                  <c:v>57.765653885661166</c:v>
                </c:pt>
                <c:pt idx="75">
                  <c:v>57.959657409109653</c:v>
                </c:pt>
                <c:pt idx="76">
                  <c:v>58.151344402792837</c:v>
                </c:pt>
                <c:pt idx="77">
                  <c:v>58.341107254497231</c:v>
                </c:pt>
                <c:pt idx="78">
                  <c:v>58.528652663297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6.423243128025696</c:v>
                </c:pt>
                <c:pt idx="32">
                  <c:v>46.83618293919541</c:v>
                </c:pt>
                <c:pt idx="33">
                  <c:v>47.236301288952284</c:v>
                </c:pt>
                <c:pt idx="34">
                  <c:v>47.6202876511461</c:v>
                </c:pt>
                <c:pt idx="35">
                  <c:v>47.995661657708403</c:v>
                </c:pt>
                <c:pt idx="36">
                  <c:v>48.371633687902467</c:v>
                </c:pt>
                <c:pt idx="37">
                  <c:v>48.749812916395669</c:v>
                </c:pt>
                <c:pt idx="38">
                  <c:v>49.130739461604392</c:v>
                </c:pt>
                <c:pt idx="39">
                  <c:v>49.51566757771738</c:v>
                </c:pt>
                <c:pt idx="40">
                  <c:v>49.903900744910032</c:v>
                </c:pt>
                <c:pt idx="41">
                  <c:v>50.294712429393044</c:v>
                </c:pt>
                <c:pt idx="42">
                  <c:v>50.693949853798919</c:v>
                </c:pt>
                <c:pt idx="43">
                  <c:v>51.101293505184032</c:v>
                </c:pt>
                <c:pt idx="44">
                  <c:v>51.517577910262496</c:v>
                </c:pt>
                <c:pt idx="45">
                  <c:v>51.941410671905899</c:v>
                </c:pt>
                <c:pt idx="46">
                  <c:v>52.37246141389749</c:v>
                </c:pt>
                <c:pt idx="47">
                  <c:v>52.811401948170769</c:v>
                </c:pt>
                <c:pt idx="48">
                  <c:v>53.258783876218168</c:v>
                </c:pt>
                <c:pt idx="49">
                  <c:v>53.715635115223733</c:v>
                </c:pt>
                <c:pt idx="50">
                  <c:v>54.182315713844027</c:v>
                </c:pt>
                <c:pt idx="51">
                  <c:v>54.658273403201839</c:v>
                </c:pt>
                <c:pt idx="52">
                  <c:v>55.143420198854763</c:v>
                </c:pt>
                <c:pt idx="53">
                  <c:v>55.638478675785045</c:v>
                </c:pt>
                <c:pt idx="54">
                  <c:v>56.143789105456293</c:v>
                </c:pt>
                <c:pt idx="55">
                  <c:v>56.659288246407229</c:v>
                </c:pt>
                <c:pt idx="56">
                  <c:v>57.185059433451769</c:v>
                </c:pt>
                <c:pt idx="57">
                  <c:v>57.721515010284243</c:v>
                </c:pt>
                <c:pt idx="58">
                  <c:v>58.268668878811226</c:v>
                </c:pt>
                <c:pt idx="59">
                  <c:v>58.826586869786517</c:v>
                </c:pt>
                <c:pt idx="60">
                  <c:v>59.39600118809291</c:v>
                </c:pt>
                <c:pt idx="61">
                  <c:v>59.97657844313521</c:v>
                </c:pt>
                <c:pt idx="62">
                  <c:v>60.568851744725372</c:v>
                </c:pt>
                <c:pt idx="63">
                  <c:v>61.172823908984057</c:v>
                </c:pt>
                <c:pt idx="64">
                  <c:v>61.788806100740686</c:v>
                </c:pt>
                <c:pt idx="65">
                  <c:v>62.416965412678152</c:v>
                </c:pt>
                <c:pt idx="66">
                  <c:v>63.057688222496935</c:v>
                </c:pt>
                <c:pt idx="67">
                  <c:v>63.710970338701486</c:v>
                </c:pt>
                <c:pt idx="68">
                  <c:v>64.377150980961872</c:v>
                </c:pt>
                <c:pt idx="69">
                  <c:v>65.056199476323471</c:v>
                </c:pt>
                <c:pt idx="70">
                  <c:v>65.748624424520557</c:v>
                </c:pt>
                <c:pt idx="71">
                  <c:v>66.454649013901076</c:v>
                </c:pt>
                <c:pt idx="72">
                  <c:v>67.17427890888213</c:v>
                </c:pt>
                <c:pt idx="73">
                  <c:v>67.908019956307669</c:v>
                </c:pt>
                <c:pt idx="74">
                  <c:v>68.656128766719632</c:v>
                </c:pt>
                <c:pt idx="75">
                  <c:v>69.418588131892051</c:v>
                </c:pt>
                <c:pt idx="76">
                  <c:v>70.195739782075492</c:v>
                </c:pt>
                <c:pt idx="77">
                  <c:v>70.987981706008895</c:v>
                </c:pt>
                <c:pt idx="78">
                  <c:v>71.795542633399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8</c:v>
                </c:pt>
                <c:pt idx="1">
                  <c:v>83</c:v>
                </c:pt>
                <c:pt idx="2">
                  <c:v>80</c:v>
                </c:pt>
                <c:pt idx="3">
                  <c:v>82</c:v>
                </c:pt>
                <c:pt idx="4">
                  <c:v>67</c:v>
                </c:pt>
                <c:pt idx="5">
                  <c:v>63</c:v>
                </c:pt>
                <c:pt idx="6">
                  <c:v>55</c:v>
                </c:pt>
                <c:pt idx="7">
                  <c:v>53</c:v>
                </c:pt>
                <c:pt idx="8">
                  <c:v>52</c:v>
                </c:pt>
                <c:pt idx="9">
                  <c:v>57</c:v>
                </c:pt>
                <c:pt idx="10">
                  <c:v>62</c:v>
                </c:pt>
                <c:pt idx="11">
                  <c:v>60</c:v>
                </c:pt>
                <c:pt idx="12">
                  <c:v>58</c:v>
                </c:pt>
                <c:pt idx="13">
                  <c:v>55</c:v>
                </c:pt>
                <c:pt idx="14">
                  <c:v>49</c:v>
                </c:pt>
                <c:pt idx="15">
                  <c:v>47</c:v>
                </c:pt>
                <c:pt idx="16">
                  <c:v>39</c:v>
                </c:pt>
                <c:pt idx="17">
                  <c:v>40</c:v>
                </c:pt>
                <c:pt idx="18">
                  <c:v>34</c:v>
                </c:pt>
                <c:pt idx="19">
                  <c:v>28</c:v>
                </c:pt>
                <c:pt idx="20">
                  <c:v>21</c:v>
                </c:pt>
                <c:pt idx="21">
                  <c:v>22</c:v>
                </c:pt>
                <c:pt idx="22">
                  <c:v>21</c:v>
                </c:pt>
                <c:pt idx="23">
                  <c:v>20</c:v>
                </c:pt>
                <c:pt idx="24">
                  <c:v>16</c:v>
                </c:pt>
                <c:pt idx="25">
                  <c:v>13</c:v>
                </c:pt>
                <c:pt idx="26">
                  <c:v>13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0</c:v>
                </c:pt>
                <c:pt idx="33">
                  <c:v>15</c:v>
                </c:pt>
                <c:pt idx="34">
                  <c:v>10</c:v>
                </c:pt>
                <c:pt idx="35">
                  <c:v>9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2</c:v>
                </c:pt>
                <c:pt idx="40">
                  <c:v>11</c:v>
                </c:pt>
                <c:pt idx="41">
                  <c:v>9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5</c:v>
                </c:pt>
                <c:pt idx="48">
                  <c:v>5</c:v>
                </c:pt>
                <c:pt idx="49">
                  <c:v>4</c:v>
                </c:pt>
                <c:pt idx="50">
                  <c:v>4</c:v>
                </c:pt>
                <c:pt idx="51">
                  <c:v>3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2.432730020456304</c:v>
                </c:pt>
                <c:pt idx="32">
                  <c:v>11.458210276694277</c:v>
                </c:pt>
                <c:pt idx="33">
                  <c:v>10.554324947113411</c:v>
                </c:pt>
                <c:pt idx="34">
                  <c:v>9.6819446194611203</c:v>
                </c:pt>
                <c:pt idx="35">
                  <c:v>8.8683688174537316</c:v>
                </c:pt>
                <c:pt idx="36">
                  <c:v>8.1285916398020674</c:v>
                </c:pt>
                <c:pt idx="37">
                  <c:v>7.4368820556379998</c:v>
                </c:pt>
                <c:pt idx="38">
                  <c:v>6.7873581622817891</c:v>
                </c:pt>
                <c:pt idx="39">
                  <c:v>6.1817584902961258</c:v>
                </c:pt>
                <c:pt idx="40">
                  <c:v>5.6103240260271336</c:v>
                </c:pt>
                <c:pt idx="41">
                  <c:v>5.0637581259275724</c:v>
                </c:pt>
                <c:pt idx="42">
                  <c:v>4.5583853714430536</c:v>
                </c:pt>
                <c:pt idx="43">
                  <c:v>4.1006494235856774</c:v>
                </c:pt>
                <c:pt idx="44">
                  <c:v>3.654261995394779</c:v>
                </c:pt>
                <c:pt idx="45">
                  <c:v>3.2401944988905598</c:v>
                </c:pt>
                <c:pt idx="46">
                  <c:v>2.856254769039591</c:v>
                </c:pt>
                <c:pt idx="47">
                  <c:v>2.4747798925900488</c:v>
                </c:pt>
                <c:pt idx="48">
                  <c:v>2.1322572420578094</c:v>
                </c:pt>
                <c:pt idx="49">
                  <c:v>1.8060831225002754</c:v>
                </c:pt>
                <c:pt idx="50">
                  <c:v>1.4861244947167913</c:v>
                </c:pt>
                <c:pt idx="51">
                  <c:v>1.1999091584479267</c:v>
                </c:pt>
                <c:pt idx="52">
                  <c:v>0.91677987706771058</c:v>
                </c:pt>
                <c:pt idx="53">
                  <c:v>0.65260463167949767</c:v>
                </c:pt>
                <c:pt idx="54">
                  <c:v>0.40313907489377021</c:v>
                </c:pt>
                <c:pt idx="55">
                  <c:v>0.16360522302913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2.44827172820281</c:v>
                </c:pt>
                <c:pt idx="32">
                  <c:v>11.501485599272097</c:v>
                </c:pt>
                <c:pt idx="33">
                  <c:v>10.634749274190293</c:v>
                </c:pt>
                <c:pt idx="34">
                  <c:v>9.8068137905230728</c:v>
                </c:pt>
                <c:pt idx="35">
                  <c:v>9.0459943296528955</c:v>
                </c:pt>
                <c:pt idx="36">
                  <c:v>8.3690833767078967</c:v>
                </c:pt>
                <c:pt idx="37">
                  <c:v>7.7523570815133125</c:v>
                </c:pt>
                <c:pt idx="38">
                  <c:v>7.1894347018356424</c:v>
                </c:pt>
                <c:pt idx="39">
                  <c:v>6.6793894664171916</c:v>
                </c:pt>
                <c:pt idx="40">
                  <c:v>6.2110421309368409</c:v>
                </c:pt>
                <c:pt idx="41">
                  <c:v>5.7736753231201927</c:v>
                </c:pt>
                <c:pt idx="42">
                  <c:v>5.3834964429437324</c:v>
                </c:pt>
                <c:pt idx="43">
                  <c:v>5.046322869409793</c:v>
                </c:pt>
                <c:pt idx="44">
                  <c:v>4.7240784695618512</c:v>
                </c:pt>
                <c:pt idx="45">
                  <c:v>4.4361813887085288</c:v>
                </c:pt>
                <c:pt idx="46">
                  <c:v>4.1783683951606179</c:v>
                </c:pt>
                <c:pt idx="47">
                  <c:v>3.9221880102963627</c:v>
                </c:pt>
                <c:pt idx="48">
                  <c:v>3.7037172942098024</c:v>
                </c:pt>
                <c:pt idx="49">
                  <c:v>3.4990355007955247</c:v>
                </c:pt>
                <c:pt idx="50">
                  <c:v>3.2972978632345615</c:v>
                </c:pt>
                <c:pt idx="51">
                  <c:v>3.1259454801614721</c:v>
                </c:pt>
                <c:pt idx="52">
                  <c:v>2.9530544185141232</c:v>
                </c:pt>
                <c:pt idx="53">
                  <c:v>2.794052670849589</c:v>
                </c:pt>
                <c:pt idx="54">
                  <c:v>2.6449049879999169</c:v>
                </c:pt>
                <c:pt idx="55">
                  <c:v>2.5003536300659306</c:v>
                </c:pt>
                <c:pt idx="56">
                  <c:v>2.3748394840973797</c:v>
                </c:pt>
                <c:pt idx="57">
                  <c:v>2.2464937032798167</c:v>
                </c:pt>
                <c:pt idx="58">
                  <c:v>2.1294416817961777</c:v>
                </c:pt>
                <c:pt idx="59">
                  <c:v>2.0144190481087256</c:v>
                </c:pt>
                <c:pt idx="60">
                  <c:v>1.9085813877003015</c:v>
                </c:pt>
                <c:pt idx="61">
                  <c:v>1.8067755192744044</c:v>
                </c:pt>
                <c:pt idx="62">
                  <c:v>1.705963509364369</c:v>
                </c:pt>
                <c:pt idx="63">
                  <c:v>1.6102130835035815</c:v>
                </c:pt>
                <c:pt idx="64">
                  <c:v>1.5153213886279038</c:v>
                </c:pt>
                <c:pt idx="65">
                  <c:v>1.4270487013150046</c:v>
                </c:pt>
                <c:pt idx="66">
                  <c:v>1.340815044176737</c:v>
                </c:pt>
                <c:pt idx="67">
                  <c:v>1.2585495830129043</c:v>
                </c:pt>
                <c:pt idx="68">
                  <c:v>1.1800031129081516</c:v>
                </c:pt>
                <c:pt idx="69">
                  <c:v>1.1026843201353504</c:v>
                </c:pt>
                <c:pt idx="70">
                  <c:v>1.0278923665841617</c:v>
                </c:pt>
                <c:pt idx="71">
                  <c:v>0.95534423099952737</c:v>
                </c:pt>
                <c:pt idx="72">
                  <c:v>0.88536995306040889</c:v>
                </c:pt>
                <c:pt idx="73">
                  <c:v>0.81757594690734225</c:v>
                </c:pt>
                <c:pt idx="74">
                  <c:v>0.75013109284148038</c:v>
                </c:pt>
                <c:pt idx="75">
                  <c:v>0.68905322410022962</c:v>
                </c:pt>
                <c:pt idx="76">
                  <c:v>0.62560821605458905</c:v>
                </c:pt>
                <c:pt idx="77">
                  <c:v>0.56744305759828118</c:v>
                </c:pt>
                <c:pt idx="78">
                  <c:v>0.50956304031928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2.463813435949316</c:v>
                </c:pt>
                <c:pt idx="32">
                  <c:v>11.545192635953985</c:v>
                </c:pt>
                <c:pt idx="33">
                  <c:v>10.715728122404901</c:v>
                </c:pt>
                <c:pt idx="34">
                  <c:v>9.9318979751777174</c:v>
                </c:pt>
                <c:pt idx="35">
                  <c:v>9.2255167937636031</c:v>
                </c:pt>
                <c:pt idx="36">
                  <c:v>8.6158278032154065</c:v>
                </c:pt>
                <c:pt idx="37">
                  <c:v>8.082016385468723</c:v>
                </c:pt>
                <c:pt idx="38">
                  <c:v>7.6186060951223737</c:v>
                </c:pt>
                <c:pt idx="39">
                  <c:v>7.2209515674269564</c:v>
                </c:pt>
                <c:pt idx="40">
                  <c:v>6.876512232638353</c:v>
                </c:pt>
                <c:pt idx="41">
                  <c:v>6.5755466474819979</c:v>
                </c:pt>
                <c:pt idx="42">
                  <c:v>6.3353311439252256</c:v>
                </c:pt>
                <c:pt idx="43">
                  <c:v>6.1620866845394282</c:v>
                </c:pt>
                <c:pt idx="44">
                  <c:v>6.0157172165891986</c:v>
                </c:pt>
                <c:pt idx="45">
                  <c:v>5.9146196043632671</c:v>
                </c:pt>
                <c:pt idx="46">
                  <c:v>5.8525704231993192</c:v>
                </c:pt>
                <c:pt idx="47">
                  <c:v>5.8017914840962916</c:v>
                </c:pt>
                <c:pt idx="48">
                  <c:v>5.7978586061824622</c:v>
                </c:pt>
                <c:pt idx="49">
                  <c:v>5.8163857450979517</c:v>
                </c:pt>
                <c:pt idx="50">
                  <c:v>5.8459373983553498</c:v>
                </c:pt>
                <c:pt idx="51">
                  <c:v>5.9121073557618491</c:v>
                </c:pt>
                <c:pt idx="52">
                  <c:v>5.9823281622775628</c:v>
                </c:pt>
                <c:pt idx="53">
                  <c:v>6.0726878032549774</c:v>
                </c:pt>
                <c:pt idx="54">
                  <c:v>6.1789332329754298</c:v>
                </c:pt>
                <c:pt idx="55">
                  <c:v>6.2950865664267734</c:v>
                </c:pt>
                <c:pt idx="56">
                  <c:v>6.4347202584164034</c:v>
                </c:pt>
                <c:pt idx="57">
                  <c:v>6.5762774562976567</c:v>
                </c:pt>
                <c:pt idx="58">
                  <c:v>6.7332367051142592</c:v>
                </c:pt>
                <c:pt idx="59">
                  <c:v>6.8960891366415602</c:v>
                </c:pt>
                <c:pt idx="60">
                  <c:v>7.0725474330705644</c:v>
                </c:pt>
                <c:pt idx="61">
                  <c:v>7.2565461827825599</c:v>
                </c:pt>
                <c:pt idx="62">
                  <c:v>7.4455762006538357</c:v>
                </c:pt>
                <c:pt idx="63">
                  <c:v>7.6432887448404738</c:v>
                </c:pt>
                <c:pt idx="64">
                  <c:v>7.8456738737201546</c:v>
                </c:pt>
                <c:pt idx="65">
                  <c:v>8.0579876189944528</c:v>
                </c:pt>
                <c:pt idx="66">
                  <c:v>8.2763650857356499</c:v>
                </c:pt>
                <c:pt idx="67">
                  <c:v>8.5023488928774285</c:v>
                </c:pt>
                <c:pt idx="68">
                  <c:v>8.7355609615488543</c:v>
                </c:pt>
                <c:pt idx="69">
                  <c:v>8.9733763730808267</c:v>
                </c:pt>
                <c:pt idx="70">
                  <c:v>9.2173798693402276</c:v>
                </c:pt>
                <c:pt idx="71">
                  <c:v>9.4676827525042544</c:v>
                </c:pt>
                <c:pt idx="72">
                  <c:v>9.7238817536931741</c:v>
                </c:pt>
                <c:pt idx="73">
                  <c:v>9.9866265136478027</c:v>
                </c:pt>
                <c:pt idx="74">
                  <c:v>10.253793183309146</c:v>
                </c:pt>
                <c:pt idx="75">
                  <c:v>10.530901983078536</c:v>
                </c:pt>
                <c:pt idx="76">
                  <c:v>10.809912404312321</c:v>
                </c:pt>
                <c:pt idx="77">
                  <c:v>11.098123944007689</c:v>
                </c:pt>
                <c:pt idx="78">
                  <c:v>11.391259383763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7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3</c:v>
                </c:pt>
                <c:pt idx="16">
                  <c:v>16</c:v>
                </c:pt>
                <c:pt idx="17">
                  <c:v>18</c:v>
                </c:pt>
                <c:pt idx="18">
                  <c:v>20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2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30</c:v>
                </c:pt>
                <c:pt idx="32">
                  <c:v>30</c:v>
                </c:pt>
                <c:pt idx="33">
                  <c:v>30</c:v>
                </c:pt>
                <c:pt idx="34">
                  <c:v>30</c:v>
                </c:pt>
                <c:pt idx="35">
                  <c:v>30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0</c:v>
                </c:pt>
                <c:pt idx="45">
                  <c:v>30</c:v>
                </c:pt>
                <c:pt idx="46">
                  <c:v>30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1</c:v>
                </c:pt>
                <c:pt idx="54">
                  <c:v>3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9.47251635881862</c:v>
                </c:pt>
                <c:pt idx="32">
                  <c:v>29.911744068364136</c:v>
                </c:pt>
                <c:pt idx="33">
                  <c:v>30.324009950222948</c:v>
                </c:pt>
                <c:pt idx="34">
                  <c:v>30.708467524266688</c:v>
                </c:pt>
                <c:pt idx="35">
                  <c:v>31.066991997013012</c:v>
                </c:pt>
                <c:pt idx="36">
                  <c:v>31.407940427676216</c:v>
                </c:pt>
                <c:pt idx="37">
                  <c:v>31.731063789756522</c:v>
                </c:pt>
                <c:pt idx="38">
                  <c:v>32.033609994270442</c:v>
                </c:pt>
                <c:pt idx="39">
                  <c:v>32.318689316603788</c:v>
                </c:pt>
                <c:pt idx="40">
                  <c:v>32.588515255673791</c:v>
                </c:pt>
                <c:pt idx="41">
                  <c:v>32.841797404774027</c:v>
                </c:pt>
                <c:pt idx="42">
                  <c:v>33.08224365347354</c:v>
                </c:pt>
                <c:pt idx="43">
                  <c:v>33.310056557711597</c:v>
                </c:pt>
                <c:pt idx="44">
                  <c:v>33.526339331052391</c:v>
                </c:pt>
                <c:pt idx="45">
                  <c:v>33.73109976095602</c:v>
                </c:pt>
                <c:pt idx="46">
                  <c:v>33.924462739756862</c:v>
                </c:pt>
                <c:pt idx="47">
                  <c:v>34.107437476115898</c:v>
                </c:pt>
                <c:pt idx="48">
                  <c:v>34.280522313352954</c:v>
                </c:pt>
                <c:pt idx="49">
                  <c:v>34.444590824474005</c:v>
                </c:pt>
                <c:pt idx="50">
                  <c:v>34.600898499284767</c:v>
                </c:pt>
                <c:pt idx="51">
                  <c:v>34.749554981940086</c:v>
                </c:pt>
                <c:pt idx="52">
                  <c:v>34.890717044722713</c:v>
                </c:pt>
                <c:pt idx="53">
                  <c:v>35.024854644826043</c:v>
                </c:pt>
                <c:pt idx="54">
                  <c:v>35.152498905355024</c:v>
                </c:pt>
                <c:pt idx="55">
                  <c:v>35.274034872808194</c:v>
                </c:pt>
                <c:pt idx="56">
                  <c:v>35.389596901640985</c:v>
                </c:pt>
                <c:pt idx="57">
                  <c:v>35.499881394175276</c:v>
                </c:pt>
                <c:pt idx="58">
                  <c:v>35.605263720082576</c:v>
                </c:pt>
                <c:pt idx="59">
                  <c:v>35.706078312268723</c:v>
                </c:pt>
                <c:pt idx="60">
                  <c:v>35.80238957704308</c:v>
                </c:pt>
                <c:pt idx="61">
                  <c:v>35.894490718258155</c:v>
                </c:pt>
                <c:pt idx="62">
                  <c:v>35.982631460177167</c:v>
                </c:pt>
                <c:pt idx="63">
                  <c:v>36.067230374301559</c:v>
                </c:pt>
                <c:pt idx="64">
                  <c:v>36.148278345862558</c:v>
                </c:pt>
                <c:pt idx="65">
                  <c:v>36.226153371491456</c:v>
                </c:pt>
                <c:pt idx="66">
                  <c:v>36.301043863693252</c:v>
                </c:pt>
                <c:pt idx="67">
                  <c:v>36.373355985700016</c:v>
                </c:pt>
                <c:pt idx="68">
                  <c:v>36.442828955977781</c:v>
                </c:pt>
                <c:pt idx="69">
                  <c:v>36.50998627472886</c:v>
                </c:pt>
                <c:pt idx="70">
                  <c:v>36.57478353854659</c:v>
                </c:pt>
                <c:pt idx="71">
                  <c:v>36.637301005612017</c:v>
                </c:pt>
                <c:pt idx="72">
                  <c:v>36.697857409801564</c:v>
                </c:pt>
                <c:pt idx="73">
                  <c:v>36.756373535308299</c:v>
                </c:pt>
                <c:pt idx="74">
                  <c:v>36.813353928836634</c:v>
                </c:pt>
                <c:pt idx="75">
                  <c:v>36.868531552335412</c:v>
                </c:pt>
                <c:pt idx="76">
                  <c:v>36.922141999767454</c:v>
                </c:pt>
                <c:pt idx="77">
                  <c:v>36.974040537118192</c:v>
                </c:pt>
                <c:pt idx="78">
                  <c:v>37.02470914897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9.481359106057933</c:v>
                </c:pt>
                <c:pt idx="32">
                  <c:v>29.937056374123408</c:v>
                </c:pt>
                <c:pt idx="33">
                  <c:v>30.372171572288334</c:v>
                </c:pt>
                <c:pt idx="34">
                  <c:v>30.785080329424478</c:v>
                </c:pt>
                <c:pt idx="35">
                  <c:v>31.178531845562048</c:v>
                </c:pt>
                <c:pt idx="36">
                  <c:v>31.562138458713946</c:v>
                </c:pt>
                <c:pt idx="37">
                  <c:v>31.937061592286234</c:v>
                </c:pt>
                <c:pt idx="38">
                  <c:v>32.300768274590084</c:v>
                </c:pt>
                <c:pt idx="39">
                  <c:v>32.655393732656364</c:v>
                </c:pt>
                <c:pt idx="40">
                  <c:v>33.00268892158185</c:v>
                </c:pt>
                <c:pt idx="41">
                  <c:v>33.340976056896807</c:v>
                </c:pt>
                <c:pt idx="42">
                  <c:v>33.674323961189309</c:v>
                </c:pt>
                <c:pt idx="43">
                  <c:v>34.002911186478862</c:v>
                </c:pt>
                <c:pt idx="44">
                  <c:v>34.327187320955829</c:v>
                </c:pt>
                <c:pt idx="45">
                  <c:v>34.64651888329643</c:v>
                </c:pt>
                <c:pt idx="46">
                  <c:v>34.960158773282032</c:v>
                </c:pt>
                <c:pt idx="47">
                  <c:v>35.26881312337224</c:v>
                </c:pt>
                <c:pt idx="48">
                  <c:v>35.572848515037059</c:v>
                </c:pt>
                <c:pt idx="49">
                  <c:v>35.87243884236122</c:v>
                </c:pt>
                <c:pt idx="50">
                  <c:v>36.168426504467874</c:v>
                </c:pt>
                <c:pt idx="51">
                  <c:v>36.460835332067802</c:v>
                </c:pt>
                <c:pt idx="52">
                  <c:v>36.749068247075137</c:v>
                </c:pt>
                <c:pt idx="53">
                  <c:v>37.033190878984158</c:v>
                </c:pt>
                <c:pt idx="54">
                  <c:v>37.31369161582932</c:v>
                </c:pt>
                <c:pt idx="55">
                  <c:v>37.590543081733415</c:v>
                </c:pt>
                <c:pt idx="56">
                  <c:v>37.863605801218</c:v>
                </c:pt>
                <c:pt idx="57">
                  <c:v>38.133135526386923</c:v>
                </c:pt>
                <c:pt idx="58">
                  <c:v>38.39948151529039</c:v>
                </c:pt>
                <c:pt idx="59">
                  <c:v>38.662347192696984</c:v>
                </c:pt>
                <c:pt idx="60">
                  <c:v>38.921977448342659</c:v>
                </c:pt>
                <c:pt idx="61">
                  <c:v>39.178346101553956</c:v>
                </c:pt>
                <c:pt idx="62">
                  <c:v>39.431522804607603</c:v>
                </c:pt>
                <c:pt idx="63">
                  <c:v>39.681539832903454</c:v>
                </c:pt>
                <c:pt idx="64">
                  <c:v>39.928436200719979</c:v>
                </c:pt>
                <c:pt idx="65">
                  <c:v>40.172487929729982</c:v>
                </c:pt>
                <c:pt idx="66">
                  <c:v>40.413567183433372</c:v>
                </c:pt>
                <c:pt idx="67">
                  <c:v>40.651672278886288</c:v>
                </c:pt>
                <c:pt idx="68">
                  <c:v>40.887068409379481</c:v>
                </c:pt>
                <c:pt idx="69">
                  <c:v>41.11961188657618</c:v>
                </c:pt>
                <c:pt idx="70">
                  <c:v>41.349537107863171</c:v>
                </c:pt>
                <c:pt idx="71">
                  <c:v>41.576700173407971</c:v>
                </c:pt>
                <c:pt idx="72">
                  <c:v>41.801325894450244</c:v>
                </c:pt>
                <c:pt idx="73">
                  <c:v>42.023243820709894</c:v>
                </c:pt>
                <c:pt idx="74">
                  <c:v>42.242684406068257</c:v>
                </c:pt>
                <c:pt idx="75">
                  <c:v>42.459718187832216</c:v>
                </c:pt>
                <c:pt idx="76">
                  <c:v>42.674158381777239</c:v>
                </c:pt>
                <c:pt idx="77">
                  <c:v>42.886451745600745</c:v>
                </c:pt>
                <c:pt idx="78">
                  <c:v>43.09626983911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9.490201853297179</c:v>
                </c:pt>
                <c:pt idx="32">
                  <c:v>29.962614311750276</c:v>
                </c:pt>
                <c:pt idx="33">
                  <c:v>30.420667866156389</c:v>
                </c:pt>
                <c:pt idx="34">
                  <c:v>30.86185346207683</c:v>
                </c:pt>
                <c:pt idx="35">
                  <c:v>31.291195920359264</c:v>
                </c:pt>
                <c:pt idx="36">
                  <c:v>31.720025477421871</c:v>
                </c:pt>
                <c:pt idx="37">
                  <c:v>32.151511220440497</c:v>
                </c:pt>
                <c:pt idx="38">
                  <c:v>32.584285452679921</c:v>
                </c:pt>
                <c:pt idx="39">
                  <c:v>33.019114717360168</c:v>
                </c:pt>
                <c:pt idx="40">
                  <c:v>33.457447678924225</c:v>
                </c:pt>
                <c:pt idx="41">
                  <c:v>33.898722469412306</c:v>
                </c:pt>
                <c:pt idx="42">
                  <c:v>34.348291728946343</c:v>
                </c:pt>
                <c:pt idx="43">
                  <c:v>34.807169286828326</c:v>
                </c:pt>
                <c:pt idx="44">
                  <c:v>35.275344434288733</c:v>
                </c:pt>
                <c:pt idx="45">
                  <c:v>35.752196022808285</c:v>
                </c:pt>
                <c:pt idx="46">
                  <c:v>36.236553060850717</c:v>
                </c:pt>
                <c:pt idx="47">
                  <c:v>36.730010130981121</c:v>
                </c:pt>
                <c:pt idx="48">
                  <c:v>37.233213192341942</c:v>
                </c:pt>
                <c:pt idx="49">
                  <c:v>37.746570474396258</c:v>
                </c:pt>
                <c:pt idx="50">
                  <c:v>38.271088967804182</c:v>
                </c:pt>
                <c:pt idx="51">
                  <c:v>38.806222737141262</c:v>
                </c:pt>
                <c:pt idx="52">
                  <c:v>39.35142918973601</c:v>
                </c:pt>
                <c:pt idx="53">
                  <c:v>39.907516613111589</c:v>
                </c:pt>
                <c:pt idx="54">
                  <c:v>40.475223972843324</c:v>
                </c:pt>
                <c:pt idx="55">
                  <c:v>41.054486421465697</c:v>
                </c:pt>
                <c:pt idx="56">
                  <c:v>41.645006204855903</c:v>
                </c:pt>
                <c:pt idx="57">
                  <c:v>42.247511111089977</c:v>
                </c:pt>
                <c:pt idx="58">
                  <c:v>42.862272247201361</c:v>
                </c:pt>
                <c:pt idx="59">
                  <c:v>43.489082521426042</c:v>
                </c:pt>
                <c:pt idx="60">
                  <c:v>44.128741898041177</c:v>
                </c:pt>
                <c:pt idx="61">
                  <c:v>44.780960753362393</c:v>
                </c:pt>
                <c:pt idx="62">
                  <c:v>45.446296282228978</c:v>
                </c:pt>
                <c:pt idx="63">
                  <c:v>46.124764478221714</c:v>
                </c:pt>
                <c:pt idx="64">
                  <c:v>46.816720657600285</c:v>
                </c:pt>
                <c:pt idx="65">
                  <c:v>47.522364493100611</c:v>
                </c:pt>
                <c:pt idx="66">
                  <c:v>48.242130640259262</c:v>
                </c:pt>
                <c:pt idx="67">
                  <c:v>48.975999373075723</c:v>
                </c:pt>
                <c:pt idx="68">
                  <c:v>49.724345861642483</c:v>
                </c:pt>
                <c:pt idx="69">
                  <c:v>50.48713277613345</c:v>
                </c:pt>
                <c:pt idx="70">
                  <c:v>51.264944910071904</c:v>
                </c:pt>
                <c:pt idx="71">
                  <c:v>52.058036757400487</c:v>
                </c:pt>
                <c:pt idx="72">
                  <c:v>52.866393134550719</c:v>
                </c:pt>
                <c:pt idx="73">
                  <c:v>53.690598587701423</c:v>
                </c:pt>
                <c:pt idx="74">
                  <c:v>54.530943546578875</c:v>
                </c:pt>
                <c:pt idx="75">
                  <c:v>55.387403278964513</c:v>
                </c:pt>
                <c:pt idx="76">
                  <c:v>56.26035451098118</c:v>
                </c:pt>
                <c:pt idx="77">
                  <c:v>57.150263895732579</c:v>
                </c:pt>
                <c:pt idx="78">
                  <c:v>58.057385408633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8</c:v>
                </c:pt>
                <c:pt idx="2">
                  <c:v>14</c:v>
                </c:pt>
                <c:pt idx="3">
                  <c:v>19</c:v>
                </c:pt>
                <c:pt idx="4">
                  <c:v>25</c:v>
                </c:pt>
                <c:pt idx="5">
                  <c:v>28</c:v>
                </c:pt>
                <c:pt idx="6">
                  <c:v>32</c:v>
                </c:pt>
                <c:pt idx="7">
                  <c:v>37</c:v>
                </c:pt>
                <c:pt idx="8">
                  <c:v>41</c:v>
                </c:pt>
                <c:pt idx="9">
                  <c:v>43</c:v>
                </c:pt>
                <c:pt idx="10">
                  <c:v>43</c:v>
                </c:pt>
                <c:pt idx="11">
                  <c:v>47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7</c:v>
                </c:pt>
                <c:pt idx="16">
                  <c:v>58</c:v>
                </c:pt>
                <c:pt idx="17">
                  <c:v>60</c:v>
                </c:pt>
                <c:pt idx="18">
                  <c:v>61</c:v>
                </c:pt>
                <c:pt idx="19">
                  <c:v>61</c:v>
                </c:pt>
                <c:pt idx="20">
                  <c:v>64</c:v>
                </c:pt>
                <c:pt idx="21">
                  <c:v>64</c:v>
                </c:pt>
                <c:pt idx="22">
                  <c:v>65</c:v>
                </c:pt>
                <c:pt idx="23">
                  <c:v>66</c:v>
                </c:pt>
                <c:pt idx="24">
                  <c:v>68</c:v>
                </c:pt>
                <c:pt idx="25">
                  <c:v>70</c:v>
                </c:pt>
                <c:pt idx="26">
                  <c:v>70</c:v>
                </c:pt>
                <c:pt idx="27">
                  <c:v>70</c:v>
                </c:pt>
                <c:pt idx="28">
                  <c:v>71</c:v>
                </c:pt>
                <c:pt idx="29">
                  <c:v>73</c:v>
                </c:pt>
                <c:pt idx="30">
                  <c:v>76</c:v>
                </c:pt>
                <c:pt idx="31">
                  <c:v>76</c:v>
                </c:pt>
                <c:pt idx="32">
                  <c:v>76</c:v>
                </c:pt>
                <c:pt idx="33">
                  <c:v>76</c:v>
                </c:pt>
                <c:pt idx="34">
                  <c:v>76</c:v>
                </c:pt>
                <c:pt idx="35">
                  <c:v>76</c:v>
                </c:pt>
                <c:pt idx="36">
                  <c:v>76</c:v>
                </c:pt>
                <c:pt idx="37">
                  <c:v>76</c:v>
                </c:pt>
                <c:pt idx="38">
                  <c:v>77</c:v>
                </c:pt>
                <c:pt idx="39">
                  <c:v>78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9</c:v>
                </c:pt>
                <c:pt idx="44">
                  <c:v>80</c:v>
                </c:pt>
                <c:pt idx="45">
                  <c:v>80</c:v>
                </c:pt>
                <c:pt idx="46">
                  <c:v>80</c:v>
                </c:pt>
                <c:pt idx="47">
                  <c:v>80</c:v>
                </c:pt>
                <c:pt idx="48">
                  <c:v>80</c:v>
                </c:pt>
                <c:pt idx="49">
                  <c:v>80</c:v>
                </c:pt>
                <c:pt idx="50">
                  <c:v>80</c:v>
                </c:pt>
                <c:pt idx="51">
                  <c:v>80</c:v>
                </c:pt>
                <c:pt idx="52">
                  <c:v>80</c:v>
                </c:pt>
                <c:pt idx="53">
                  <c:v>80</c:v>
                </c:pt>
                <c:pt idx="54">
                  <c:v>8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6.860643119061621</c:v>
                </c:pt>
                <c:pt idx="32">
                  <c:v>77.658162662300398</c:v>
                </c:pt>
                <c:pt idx="33">
                  <c:v>78.406751023879437</c:v>
                </c:pt>
                <c:pt idx="34">
                  <c:v>79.105369625768532</c:v>
                </c:pt>
                <c:pt idx="35">
                  <c:v>79.755959246054985</c:v>
                </c:pt>
                <c:pt idx="36">
                  <c:v>80.374115901324402</c:v>
                </c:pt>
                <c:pt idx="37">
                  <c:v>80.96007964414386</c:v>
                </c:pt>
                <c:pt idx="38">
                  <c:v>81.508067411838425</c:v>
                </c:pt>
                <c:pt idx="39">
                  <c:v>82.023493267653379</c:v>
                </c:pt>
                <c:pt idx="40">
                  <c:v>82.511384216901462</c:v>
                </c:pt>
                <c:pt idx="41">
                  <c:v>82.96946768110945</c:v>
                </c:pt>
                <c:pt idx="42">
                  <c:v>83.403860113609355</c:v>
                </c:pt>
                <c:pt idx="43">
                  <c:v>83.815539874003036</c:v>
                </c:pt>
                <c:pt idx="44">
                  <c:v>84.206101642079545</c:v>
                </c:pt>
                <c:pt idx="45">
                  <c:v>84.576009812419471</c:v>
                </c:pt>
                <c:pt idx="46">
                  <c:v>84.925103776362121</c:v>
                </c:pt>
                <c:pt idx="47">
                  <c:v>85.255530936535507</c:v>
                </c:pt>
                <c:pt idx="48">
                  <c:v>85.568188078121509</c:v>
                </c:pt>
                <c:pt idx="49">
                  <c:v>85.864361403805077</c:v>
                </c:pt>
                <c:pt idx="50">
                  <c:v>86.14660591902188</c:v>
                </c:pt>
                <c:pt idx="51">
                  <c:v>86.415139125204732</c:v>
                </c:pt>
                <c:pt idx="52">
                  <c:v>86.670071447731232</c:v>
                </c:pt>
                <c:pt idx="53">
                  <c:v>86.912231948966223</c:v>
                </c:pt>
                <c:pt idx="54">
                  <c:v>87.142713499464421</c:v>
                </c:pt>
                <c:pt idx="55">
                  <c:v>87.362210685564264</c:v>
                </c:pt>
                <c:pt idx="56">
                  <c:v>87.570813910498615</c:v>
                </c:pt>
                <c:pt idx="57">
                  <c:v>87.769898428930929</c:v>
                </c:pt>
                <c:pt idx="58">
                  <c:v>87.960231484682637</c:v>
                </c:pt>
                <c:pt idx="59">
                  <c:v>88.142302536036823</c:v>
                </c:pt>
                <c:pt idx="60">
                  <c:v>88.316210185859902</c:v>
                </c:pt>
                <c:pt idx="61">
                  <c:v>88.482528198187978</c:v>
                </c:pt>
                <c:pt idx="62">
                  <c:v>88.641699291696185</c:v>
                </c:pt>
                <c:pt idx="63">
                  <c:v>88.794480088882054</c:v>
                </c:pt>
                <c:pt idx="64">
                  <c:v>88.940849984549601</c:v>
                </c:pt>
                <c:pt idx="65">
                  <c:v>89.081490979891029</c:v>
                </c:pt>
                <c:pt idx="66">
                  <c:v>89.216748533118533</c:v>
                </c:pt>
                <c:pt idx="67">
                  <c:v>89.347357754438306</c:v>
                </c:pt>
                <c:pt idx="68">
                  <c:v>89.472839116570213</c:v>
                </c:pt>
                <c:pt idx="69">
                  <c:v>89.594142206220795</c:v>
                </c:pt>
                <c:pt idx="70">
                  <c:v>89.711190032796708</c:v>
                </c:pt>
                <c:pt idx="71">
                  <c:v>89.824118119372386</c:v>
                </c:pt>
                <c:pt idx="72">
                  <c:v>89.933506776300618</c:v>
                </c:pt>
                <c:pt idx="73">
                  <c:v>90.039209313540894</c:v>
                </c:pt>
                <c:pt idx="74">
                  <c:v>90.142144013196571</c:v>
                </c:pt>
                <c:pt idx="75">
                  <c:v>90.241822624706288</c:v>
                </c:pt>
                <c:pt idx="76">
                  <c:v>90.338670499726845</c:v>
                </c:pt>
                <c:pt idx="77">
                  <c:v>90.432427083741572</c:v>
                </c:pt>
                <c:pt idx="78">
                  <c:v>90.523966007596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6.876766459068563</c:v>
                </c:pt>
                <c:pt idx="32">
                  <c:v>77.704370262877489</c:v>
                </c:pt>
                <c:pt idx="33">
                  <c:v>78.494671843884532</c:v>
                </c:pt>
                <c:pt idx="34">
                  <c:v>79.245232137168358</c:v>
                </c:pt>
                <c:pt idx="35">
                  <c:v>79.959579347060256</c:v>
                </c:pt>
                <c:pt idx="36">
                  <c:v>80.655537488818339</c:v>
                </c:pt>
                <c:pt idx="37">
                  <c:v>81.335833866377087</c:v>
                </c:pt>
                <c:pt idx="38">
                  <c:v>81.995066382919418</c:v>
                </c:pt>
                <c:pt idx="39">
                  <c:v>82.636858130886196</c:v>
                </c:pt>
                <c:pt idx="40">
                  <c:v>83.265356358974103</c:v>
                </c:pt>
                <c:pt idx="41">
                  <c:v>83.877605220859067</c:v>
                </c:pt>
                <c:pt idx="42">
                  <c:v>84.480414878813662</c:v>
                </c:pt>
                <c:pt idx="43">
                  <c:v>85.074703687534381</c:v>
                </c:pt>
                <c:pt idx="44">
                  <c:v>85.660896122990053</c:v>
                </c:pt>
                <c:pt idx="45">
                  <c:v>86.238264487510335</c:v>
                </c:pt>
                <c:pt idx="46">
                  <c:v>86.805098055333048</c:v>
                </c:pt>
                <c:pt idx="47">
                  <c:v>87.363010729730519</c:v>
                </c:pt>
                <c:pt idx="48">
                  <c:v>87.912667254763434</c:v>
                </c:pt>
                <c:pt idx="49">
                  <c:v>88.454083832320961</c:v>
                </c:pt>
                <c:pt idx="50">
                  <c:v>88.989051635522785</c:v>
                </c:pt>
                <c:pt idx="51">
                  <c:v>89.517646774717974</c:v>
                </c:pt>
                <c:pt idx="52">
                  <c:v>90.038612524584337</c:v>
                </c:pt>
                <c:pt idx="53">
                  <c:v>90.55204722386307</c:v>
                </c:pt>
                <c:pt idx="54">
                  <c:v>91.058977391252043</c:v>
                </c:pt>
                <c:pt idx="55">
                  <c:v>91.559361726852487</c:v>
                </c:pt>
                <c:pt idx="56">
                  <c:v>92.052790076899555</c:v>
                </c:pt>
                <c:pt idx="57">
                  <c:v>92.53983293053912</c:v>
                </c:pt>
                <c:pt idx="58">
                  <c:v>93.021220372589937</c:v>
                </c:pt>
                <c:pt idx="59">
                  <c:v>93.496303528023105</c:v>
                </c:pt>
                <c:pt idx="60">
                  <c:v>93.965505653467986</c:v>
                </c:pt>
                <c:pt idx="61">
                  <c:v>94.428824875443993</c:v>
                </c:pt>
                <c:pt idx="62">
                  <c:v>94.886375479807356</c:v>
                </c:pt>
                <c:pt idx="63">
                  <c:v>95.338214827997234</c:v>
                </c:pt>
                <c:pt idx="64">
                  <c:v>95.784414657805428</c:v>
                </c:pt>
                <c:pt idx="65">
                  <c:v>96.225477066247976</c:v>
                </c:pt>
                <c:pt idx="66">
                  <c:v>96.661171656932964</c:v>
                </c:pt>
                <c:pt idx="67">
                  <c:v>97.091490417543156</c:v>
                </c:pt>
                <c:pt idx="68">
                  <c:v>97.516915187858203</c:v>
                </c:pt>
                <c:pt idx="69">
                  <c:v>97.937186549887286</c:v>
                </c:pt>
                <c:pt idx="70">
                  <c:v>98.35272692688693</c:v>
                </c:pt>
                <c:pt idx="71">
                  <c:v>98.763276539313566</c:v>
                </c:pt>
                <c:pt idx="72">
                  <c:v>99.169241938911767</c:v>
                </c:pt>
                <c:pt idx="73">
                  <c:v>99.570312926918888</c:v>
                </c:pt>
                <c:pt idx="74">
                  <c:v>99.966905248818833</c:v>
                </c:pt>
                <c:pt idx="75">
                  <c:v>100.3591506795442</c:v>
                </c:pt>
                <c:pt idx="76">
                  <c:v>100.74670785883045</c:v>
                </c:pt>
                <c:pt idx="77">
                  <c:v>101.13038744991314</c:v>
                </c:pt>
                <c:pt idx="78">
                  <c:v>101.50959572885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6.892889799075419</c:v>
                </c:pt>
                <c:pt idx="32">
                  <c:v>77.751025734010071</c:v>
                </c:pt>
                <c:pt idx="33">
                  <c:v>78.58320440251633</c:v>
                </c:pt>
                <c:pt idx="34">
                  <c:v>79.385387641599664</c:v>
                </c:pt>
                <c:pt idx="35">
                  <c:v>80.165248886577515</c:v>
                </c:pt>
                <c:pt idx="36">
                  <c:v>80.943691926136012</c:v>
                </c:pt>
                <c:pt idx="37">
                  <c:v>81.727013204056362</c:v>
                </c:pt>
                <c:pt idx="38">
                  <c:v>82.511921288459689</c:v>
                </c:pt>
                <c:pt idx="39">
                  <c:v>83.299536962963884</c:v>
                </c:pt>
                <c:pt idx="40">
                  <c:v>84.093404366663208</c:v>
                </c:pt>
                <c:pt idx="41">
                  <c:v>84.892612321523586</c:v>
                </c:pt>
                <c:pt idx="42">
                  <c:v>85.706340599203529</c:v>
                </c:pt>
                <c:pt idx="43">
                  <c:v>86.536991434551922</c:v>
                </c:pt>
                <c:pt idx="44">
                  <c:v>87.384152994379647</c:v>
                </c:pt>
                <c:pt idx="45">
                  <c:v>88.247091929369176</c:v>
                </c:pt>
                <c:pt idx="46">
                  <c:v>89.123358821798618</c:v>
                </c:pt>
                <c:pt idx="47">
                  <c:v>90.016185945834039</c:v>
                </c:pt>
                <c:pt idx="48">
                  <c:v>90.926752746263773</c:v>
                </c:pt>
                <c:pt idx="49">
                  <c:v>91.855488739827777</c:v>
                </c:pt>
                <c:pt idx="50">
                  <c:v>92.80446498505124</c:v>
                </c:pt>
                <c:pt idx="51">
                  <c:v>93.772724693175576</c:v>
                </c:pt>
                <c:pt idx="52">
                  <c:v>94.759102628671769</c:v>
                </c:pt>
                <c:pt idx="53">
                  <c:v>95.765059583717417</c:v>
                </c:pt>
                <c:pt idx="54">
                  <c:v>96.792080011617884</c:v>
                </c:pt>
                <c:pt idx="55">
                  <c:v>97.840049166266226</c:v>
                </c:pt>
                <c:pt idx="56">
                  <c:v>98.908266413074699</c:v>
                </c:pt>
                <c:pt idx="57">
                  <c:v>99.998157847258909</c:v>
                </c:pt>
                <c:pt idx="58">
                  <c:v>101.11031965681563</c:v>
                </c:pt>
                <c:pt idx="59">
                  <c:v>102.24426088205905</c:v>
                </c:pt>
                <c:pt idx="60">
                  <c:v>103.40141933557699</c:v>
                </c:pt>
                <c:pt idx="61">
                  <c:v>104.58130622022041</c:v>
                </c:pt>
                <c:pt idx="62">
                  <c:v>105.78491226199337</c:v>
                </c:pt>
                <c:pt idx="63">
                  <c:v>107.01227170409898</c:v>
                </c:pt>
                <c:pt idx="64">
                  <c:v>108.26402970795178</c:v>
                </c:pt>
                <c:pt idx="65">
                  <c:v>109.54055243927775</c:v>
                </c:pt>
                <c:pt idx="66">
                  <c:v>110.84262645355545</c:v>
                </c:pt>
                <c:pt idx="67">
                  <c:v>112.17020985017973</c:v>
                </c:pt>
                <c:pt idx="68">
                  <c:v>113.52397887963699</c:v>
                </c:pt>
                <c:pt idx="69">
                  <c:v>114.90386482228637</c:v>
                </c:pt>
                <c:pt idx="70">
                  <c:v>116.31093115047831</c:v>
                </c:pt>
                <c:pt idx="71">
                  <c:v>117.74563981094261</c:v>
                </c:pt>
                <c:pt idx="72">
                  <c:v>119.20795441789684</c:v>
                </c:pt>
                <c:pt idx="73">
                  <c:v>120.69893917386838</c:v>
                </c:pt>
                <c:pt idx="74">
                  <c:v>122.21912036806047</c:v>
                </c:pt>
                <c:pt idx="75">
                  <c:v>123.76845102376112</c:v>
                </c:pt>
                <c:pt idx="76">
                  <c:v>125.34760968306318</c:v>
                </c:pt>
                <c:pt idx="77">
                  <c:v>126.95744863103198</c:v>
                </c:pt>
                <c:pt idx="78">
                  <c:v>128.5984260851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5</c:v>
                </c:pt>
                <c:pt idx="2">
                  <c:v>8</c:v>
                </c:pt>
                <c:pt idx="3">
                  <c:v>12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3</c:v>
                </c:pt>
                <c:pt idx="10">
                  <c:v>28</c:v>
                </c:pt>
                <c:pt idx="11">
                  <c:v>29</c:v>
                </c:pt>
                <c:pt idx="12">
                  <c:v>29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3</c:v>
                </c:pt>
                <c:pt idx="17">
                  <c:v>34</c:v>
                </c:pt>
                <c:pt idx="18">
                  <c:v>35</c:v>
                </c:pt>
                <c:pt idx="19">
                  <c:v>35</c:v>
                </c:pt>
                <c:pt idx="20">
                  <c:v>37</c:v>
                </c:pt>
                <c:pt idx="21">
                  <c:v>39</c:v>
                </c:pt>
                <c:pt idx="22">
                  <c:v>39</c:v>
                </c:pt>
                <c:pt idx="23">
                  <c:v>40</c:v>
                </c:pt>
                <c:pt idx="24">
                  <c:v>40</c:v>
                </c:pt>
                <c:pt idx="25">
                  <c:v>41</c:v>
                </c:pt>
                <c:pt idx="26">
                  <c:v>41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4</c:v>
                </c:pt>
                <c:pt idx="31">
                  <c:v>44</c:v>
                </c:pt>
                <c:pt idx="32">
                  <c:v>44</c:v>
                </c:pt>
                <c:pt idx="33">
                  <c:v>44</c:v>
                </c:pt>
                <c:pt idx="34">
                  <c:v>44</c:v>
                </c:pt>
                <c:pt idx="35">
                  <c:v>44</c:v>
                </c:pt>
                <c:pt idx="36">
                  <c:v>44</c:v>
                </c:pt>
                <c:pt idx="37">
                  <c:v>44</c:v>
                </c:pt>
                <c:pt idx="38">
                  <c:v>44</c:v>
                </c:pt>
                <c:pt idx="39">
                  <c:v>44</c:v>
                </c:pt>
                <c:pt idx="40">
                  <c:v>44</c:v>
                </c:pt>
                <c:pt idx="41">
                  <c:v>44</c:v>
                </c:pt>
                <c:pt idx="42">
                  <c:v>44</c:v>
                </c:pt>
                <c:pt idx="43">
                  <c:v>44</c:v>
                </c:pt>
                <c:pt idx="44">
                  <c:v>44</c:v>
                </c:pt>
                <c:pt idx="45">
                  <c:v>44</c:v>
                </c:pt>
                <c:pt idx="46">
                  <c:v>44</c:v>
                </c:pt>
                <c:pt idx="47">
                  <c:v>44</c:v>
                </c:pt>
                <c:pt idx="48">
                  <c:v>44</c:v>
                </c:pt>
                <c:pt idx="49">
                  <c:v>44</c:v>
                </c:pt>
                <c:pt idx="50">
                  <c:v>44</c:v>
                </c:pt>
                <c:pt idx="51">
                  <c:v>44</c:v>
                </c:pt>
                <c:pt idx="52">
                  <c:v>44</c:v>
                </c:pt>
                <c:pt idx="53">
                  <c:v>44</c:v>
                </c:pt>
                <c:pt idx="54">
                  <c:v>4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4.297529579512315</c:v>
                </c:pt>
                <c:pt idx="32">
                  <c:v>44.576385001521203</c:v>
                </c:pt>
                <c:pt idx="33">
                  <c:v>44.838100726541548</c:v>
                </c:pt>
                <c:pt idx="34">
                  <c:v>45.081681906168662</c:v>
                </c:pt>
                <c:pt idx="35">
                  <c:v>45.309662822089081</c:v>
                </c:pt>
                <c:pt idx="36">
                  <c:v>45.526962006313283</c:v>
                </c:pt>
                <c:pt idx="37">
                  <c:v>45.73278603454051</c:v>
                </c:pt>
                <c:pt idx="38">
                  <c:v>45.926109074578903</c:v>
                </c:pt>
                <c:pt idx="39">
                  <c:v>46.109119948721371</c:v>
                </c:pt>
                <c:pt idx="40">
                  <c:v>46.282298909873951</c:v>
                </c:pt>
                <c:pt idx="41">
                  <c:v>46.444762046132929</c:v>
                </c:pt>
                <c:pt idx="42">
                  <c:v>46.599428851667518</c:v>
                </c:pt>
                <c:pt idx="43">
                  <c:v>46.74586753612801</c:v>
                </c:pt>
                <c:pt idx="44">
                  <c:v>46.885153391746194</c:v>
                </c:pt>
                <c:pt idx="45">
                  <c:v>47.016878115185023</c:v>
                </c:pt>
                <c:pt idx="46">
                  <c:v>47.141476537847815</c:v>
                </c:pt>
                <c:pt idx="47">
                  <c:v>47.259300318350569</c:v>
                </c:pt>
                <c:pt idx="48">
                  <c:v>47.370673252180211</c:v>
                </c:pt>
                <c:pt idx="49">
                  <c:v>47.476425266530036</c:v>
                </c:pt>
                <c:pt idx="50">
                  <c:v>47.577100702813368</c:v>
                </c:pt>
                <c:pt idx="51">
                  <c:v>47.672752268181064</c:v>
                </c:pt>
                <c:pt idx="52">
                  <c:v>47.763639404320863</c:v>
                </c:pt>
                <c:pt idx="53">
                  <c:v>47.850082736301893</c:v>
                </c:pt>
                <c:pt idx="54">
                  <c:v>47.932301529253806</c:v>
                </c:pt>
                <c:pt idx="55">
                  <c:v>48.010544420533847</c:v>
                </c:pt>
                <c:pt idx="56">
                  <c:v>48.085037636606543</c:v>
                </c:pt>
                <c:pt idx="57">
                  <c:v>48.156121636754449</c:v>
                </c:pt>
                <c:pt idx="58">
                  <c:v>48.223956102741589</c:v>
                </c:pt>
                <c:pt idx="59">
                  <c:v>48.288861459543533</c:v>
                </c:pt>
                <c:pt idx="60">
                  <c:v>48.350895431378405</c:v>
                </c:pt>
                <c:pt idx="61">
                  <c:v>48.410206183407894</c:v>
                </c:pt>
                <c:pt idx="62">
                  <c:v>48.466962092686579</c:v>
                </c:pt>
                <c:pt idx="63">
                  <c:v>48.521432012706356</c:v>
                </c:pt>
                <c:pt idx="64">
                  <c:v>48.573613878631313</c:v>
                </c:pt>
                <c:pt idx="65">
                  <c:v>48.623751654217337</c:v>
                </c:pt>
                <c:pt idx="66">
                  <c:v>48.671961881938692</c:v>
                </c:pt>
                <c:pt idx="67">
                  <c:v>48.718504603427888</c:v>
                </c:pt>
                <c:pt idx="68">
                  <c:v>48.763219778000867</c:v>
                </c:pt>
                <c:pt idx="69">
                  <c:v>48.806440634762403</c:v>
                </c:pt>
                <c:pt idx="70">
                  <c:v>48.848135647649968</c:v>
                </c:pt>
                <c:pt idx="71">
                  <c:v>48.888365136231087</c:v>
                </c:pt>
                <c:pt idx="72">
                  <c:v>48.927330011431799</c:v>
                </c:pt>
                <c:pt idx="73">
                  <c:v>48.964982601706218</c:v>
                </c:pt>
                <c:pt idx="74">
                  <c:v>49.00164124877238</c:v>
                </c:pt>
                <c:pt idx="75">
                  <c:v>49.037139519685326</c:v>
                </c:pt>
                <c:pt idx="76">
                  <c:v>49.0716292120443</c:v>
                </c:pt>
                <c:pt idx="77">
                  <c:v>49.105016378426988</c:v>
                </c:pt>
                <c:pt idx="78">
                  <c:v>49.13760841807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4.303081877536151</c:v>
                </c:pt>
                <c:pt idx="32">
                  <c:v>44.592228263560827</c:v>
                </c:pt>
                <c:pt idx="33">
                  <c:v>44.868243980879129</c:v>
                </c:pt>
                <c:pt idx="34">
                  <c:v>45.129629344562076</c:v>
                </c:pt>
                <c:pt idx="35">
                  <c:v>45.379473065772416</c:v>
                </c:pt>
                <c:pt idx="36">
                  <c:v>45.623537661823484</c:v>
                </c:pt>
                <c:pt idx="37">
                  <c:v>45.861992855572915</c:v>
                </c:pt>
                <c:pt idx="38">
                  <c:v>46.093967431171677</c:v>
                </c:pt>
                <c:pt idx="39">
                  <c:v>46.321050031738281</c:v>
                </c:pt>
                <c:pt idx="40">
                  <c:v>46.543463873623089</c:v>
                </c:pt>
                <c:pt idx="41">
                  <c:v>46.760060654261729</c:v>
                </c:pt>
                <c:pt idx="42">
                  <c:v>46.973953816428605</c:v>
                </c:pt>
                <c:pt idx="43">
                  <c:v>47.184711400871848</c:v>
                </c:pt>
                <c:pt idx="44">
                  <c:v>47.392978488770488</c:v>
                </c:pt>
                <c:pt idx="45">
                  <c:v>47.597965092200106</c:v>
                </c:pt>
                <c:pt idx="46">
                  <c:v>47.799521975398179</c:v>
                </c:pt>
                <c:pt idx="47">
                  <c:v>47.99779295663825</c:v>
                </c:pt>
                <c:pt idx="48">
                  <c:v>48.193011567905138</c:v>
                </c:pt>
                <c:pt idx="49">
                  <c:v>48.385563133577804</c:v>
                </c:pt>
                <c:pt idx="50">
                  <c:v>48.575742372199663</c:v>
                </c:pt>
                <c:pt idx="51">
                  <c:v>48.763534272346384</c:v>
                </c:pt>
                <c:pt idx="52">
                  <c:v>48.948718169335244</c:v>
                </c:pt>
                <c:pt idx="53">
                  <c:v>49.131354844801535</c:v>
                </c:pt>
                <c:pt idx="54">
                  <c:v>49.311626112951217</c:v>
                </c:pt>
                <c:pt idx="55">
                  <c:v>49.489506877152024</c:v>
                </c:pt>
                <c:pt idx="56">
                  <c:v>49.665052595237732</c:v>
                </c:pt>
                <c:pt idx="57">
                  <c:v>49.838328247765503</c:v>
                </c:pt>
                <c:pt idx="58">
                  <c:v>50.009467528839181</c:v>
                </c:pt>
                <c:pt idx="59">
                  <c:v>50.178383451993774</c:v>
                </c:pt>
                <c:pt idx="60">
                  <c:v>50.345251130674129</c:v>
                </c:pt>
                <c:pt idx="61">
                  <c:v>50.510012032963253</c:v>
                </c:pt>
                <c:pt idx="62">
                  <c:v>50.672721562013493</c:v>
                </c:pt>
                <c:pt idx="63">
                  <c:v>50.833401348657063</c:v>
                </c:pt>
                <c:pt idx="64">
                  <c:v>50.992075337643726</c:v>
                </c:pt>
                <c:pt idx="65">
                  <c:v>51.148917928164707</c:v>
                </c:pt>
                <c:pt idx="66">
                  <c:v>51.303846380853393</c:v>
                </c:pt>
                <c:pt idx="67">
                  <c:v>51.456864176404167</c:v>
                </c:pt>
                <c:pt idx="68">
                  <c:v>51.608139386154157</c:v>
                </c:pt>
                <c:pt idx="69">
                  <c:v>51.757579426059593</c:v>
                </c:pt>
                <c:pt idx="70">
                  <c:v>51.905336027665605</c:v>
                </c:pt>
                <c:pt idx="71">
                  <c:v>52.051316452034655</c:v>
                </c:pt>
                <c:pt idx="72">
                  <c:v>52.195664936445937</c:v>
                </c:pt>
                <c:pt idx="73">
                  <c:v>52.338273914735566</c:v>
                </c:pt>
                <c:pt idx="74">
                  <c:v>52.479292171898706</c:v>
                </c:pt>
                <c:pt idx="75">
                  <c:v>52.618761096251383</c:v>
                </c:pt>
                <c:pt idx="76">
                  <c:v>52.756564131464884</c:v>
                </c:pt>
                <c:pt idx="77">
                  <c:v>52.892985398859523</c:v>
                </c:pt>
                <c:pt idx="78">
                  <c:v>53.0278139607936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4.308634175559909</c:v>
                </c:pt>
                <c:pt idx="32">
                  <c:v>44.608225756100978</c:v>
                </c:pt>
                <c:pt idx="33">
                  <c:v>44.898595980077801</c:v>
                </c:pt>
                <c:pt idx="34">
                  <c:v>45.177676844407252</c:v>
                </c:pt>
                <c:pt idx="35">
                  <c:v>45.449989578351548</c:v>
                </c:pt>
                <c:pt idx="36">
                  <c:v>45.722423577476192</c:v>
                </c:pt>
                <c:pt idx="37">
                  <c:v>45.996493155646945</c:v>
                </c:pt>
                <c:pt idx="38">
                  <c:v>46.272071640046946</c:v>
                </c:pt>
                <c:pt idx="39">
                  <c:v>46.549894465725046</c:v>
                </c:pt>
                <c:pt idx="40">
                  <c:v>46.83004270538131</c:v>
                </c:pt>
                <c:pt idx="41">
                  <c:v>47.112059579714895</c:v>
                </c:pt>
                <c:pt idx="42">
                  <c:v>47.399838223511644</c:v>
                </c:pt>
                <c:pt idx="43">
                  <c:v>47.693507042084661</c:v>
                </c:pt>
                <c:pt idx="44">
                  <c:v>47.993419374480418</c:v>
                </c:pt>
                <c:pt idx="45">
                  <c:v>48.298818802247354</c:v>
                </c:pt>
                <c:pt idx="46">
                  <c:v>48.609258536471408</c:v>
                </c:pt>
                <c:pt idx="47">
                  <c:v>48.925441693615717</c:v>
                </c:pt>
                <c:pt idx="48">
                  <c:v>49.247772360462655</c:v>
                </c:pt>
                <c:pt idx="49">
                  <c:v>49.576795810001506</c:v>
                </c:pt>
                <c:pt idx="50">
                  <c:v>49.912928665652998</c:v>
                </c:pt>
                <c:pt idx="51">
                  <c:v>50.255792676670794</c:v>
                </c:pt>
                <c:pt idx="52">
                  <c:v>50.605208599378635</c:v>
                </c:pt>
                <c:pt idx="53">
                  <c:v>50.961695875255877</c:v>
                </c:pt>
                <c:pt idx="54">
                  <c:v>51.325592693962726</c:v>
                </c:pt>
                <c:pt idx="55">
                  <c:v>51.696855132416417</c:v>
                </c:pt>
                <c:pt idx="56">
                  <c:v>52.075440996435418</c:v>
                </c:pt>
                <c:pt idx="57">
                  <c:v>52.46171631365435</c:v>
                </c:pt>
                <c:pt idx="58">
                  <c:v>52.855757815386035</c:v>
                </c:pt>
                <c:pt idx="59">
                  <c:v>53.257539513720793</c:v>
                </c:pt>
                <c:pt idx="60">
                  <c:v>53.667582786126836</c:v>
                </c:pt>
                <c:pt idx="61">
                  <c:v>54.085669723426228</c:v>
                </c:pt>
                <c:pt idx="62">
                  <c:v>54.512173340560437</c:v>
                </c:pt>
                <c:pt idx="63">
                  <c:v>54.947099015981038</c:v>
                </c:pt>
                <c:pt idx="64">
                  <c:v>55.390672329370943</c:v>
                </c:pt>
                <c:pt idx="65">
                  <c:v>55.843016731634151</c:v>
                </c:pt>
                <c:pt idx="66">
                  <c:v>56.304410618840286</c:v>
                </c:pt>
                <c:pt idx="67">
                  <c:v>56.774847050886017</c:v>
                </c:pt>
                <c:pt idx="68">
                  <c:v>57.254568764661066</c:v>
                </c:pt>
                <c:pt idx="69">
                  <c:v>57.743552921879896</c:v>
                </c:pt>
                <c:pt idx="70">
                  <c:v>58.242169285068954</c:v>
                </c:pt>
                <c:pt idx="71">
                  <c:v>58.750579560412689</c:v>
                </c:pt>
                <c:pt idx="72">
                  <c:v>59.268782200074412</c:v>
                </c:pt>
                <c:pt idx="73">
                  <c:v>59.797145727187086</c:v>
                </c:pt>
                <c:pt idx="74">
                  <c:v>60.335855495413689</c:v>
                </c:pt>
                <c:pt idx="75">
                  <c:v>60.884897702384166</c:v>
                </c:pt>
                <c:pt idx="76">
                  <c:v>61.444516562734314</c:v>
                </c:pt>
                <c:pt idx="77">
                  <c:v>62.015003783615498</c:v>
                </c:pt>
                <c:pt idx="78">
                  <c:v>62.596523300584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7</c:v>
                </c:pt>
                <c:pt idx="33">
                  <c:v>17</c:v>
                </c:pt>
                <c:pt idx="34">
                  <c:v>17</c:v>
                </c:pt>
                <c:pt idx="35">
                  <c:v>17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8</c:v>
                </c:pt>
                <c:pt idx="40">
                  <c:v>18</c:v>
                </c:pt>
                <c:pt idx="41">
                  <c:v>18</c:v>
                </c:pt>
                <c:pt idx="42">
                  <c:v>18</c:v>
                </c:pt>
                <c:pt idx="43">
                  <c:v>18</c:v>
                </c:pt>
                <c:pt idx="44">
                  <c:v>18</c:v>
                </c:pt>
                <c:pt idx="45">
                  <c:v>18</c:v>
                </c:pt>
                <c:pt idx="46">
                  <c:v>18</c:v>
                </c:pt>
                <c:pt idx="47">
                  <c:v>18</c:v>
                </c:pt>
                <c:pt idx="48">
                  <c:v>18</c:v>
                </c:pt>
                <c:pt idx="49">
                  <c:v>18</c:v>
                </c:pt>
                <c:pt idx="50">
                  <c:v>18</c:v>
                </c:pt>
                <c:pt idx="51">
                  <c:v>18</c:v>
                </c:pt>
                <c:pt idx="52">
                  <c:v>18</c:v>
                </c:pt>
                <c:pt idx="53">
                  <c:v>18</c:v>
                </c:pt>
                <c:pt idx="54">
                  <c:v>18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6.124611994257705</c:v>
                </c:pt>
                <c:pt idx="32">
                  <c:v>16.242595307340668</c:v>
                </c:pt>
                <c:pt idx="33">
                  <c:v>16.353315326376308</c:v>
                </c:pt>
                <c:pt idx="34">
                  <c:v>16.456114545593412</c:v>
                </c:pt>
                <c:pt idx="35">
                  <c:v>16.552760206825756</c:v>
                </c:pt>
                <c:pt idx="36">
                  <c:v>16.645133089385972</c:v>
                </c:pt>
                <c:pt idx="37">
                  <c:v>16.732568907483714</c:v>
                </c:pt>
                <c:pt idx="38">
                  <c:v>16.815006743649569</c:v>
                </c:pt>
                <c:pt idx="39">
                  <c:v>16.893483459763626</c:v>
                </c:pt>
                <c:pt idx="40">
                  <c:v>16.967723816376651</c:v>
                </c:pt>
                <c:pt idx="41">
                  <c:v>17.037320388079788</c:v>
                </c:pt>
                <c:pt idx="42">
                  <c:v>17.103800854905007</c:v>
                </c:pt>
                <c:pt idx="43">
                  <c:v>17.166692694125516</c:v>
                </c:pt>
                <c:pt idx="44">
                  <c:v>17.226644752191905</c:v>
                </c:pt>
                <c:pt idx="45">
                  <c:v>17.283270545009312</c:v>
                </c:pt>
                <c:pt idx="46">
                  <c:v>17.336937934474051</c:v>
                </c:pt>
                <c:pt idx="47">
                  <c:v>17.387646202709494</c:v>
                </c:pt>
                <c:pt idx="48">
                  <c:v>17.435536179008778</c:v>
                </c:pt>
                <c:pt idx="49">
                  <c:v>17.481101397805439</c:v>
                </c:pt>
                <c:pt idx="50">
                  <c:v>17.524441452133985</c:v>
                </c:pt>
                <c:pt idx="51">
                  <c:v>17.565569899891418</c:v>
                </c:pt>
                <c:pt idx="52">
                  <c:v>17.604679216243504</c:v>
                </c:pt>
                <c:pt idx="53">
                  <c:v>17.641916570161882</c:v>
                </c:pt>
                <c:pt idx="54">
                  <c:v>17.677313737689239</c:v>
                </c:pt>
                <c:pt idx="55">
                  <c:v>17.710978078982869</c:v>
                </c:pt>
                <c:pt idx="56">
                  <c:v>17.743078198061355</c:v>
                </c:pt>
                <c:pt idx="57">
                  <c:v>17.773705558860808</c:v>
                </c:pt>
                <c:pt idx="58">
                  <c:v>17.802887054192588</c:v>
                </c:pt>
                <c:pt idx="59">
                  <c:v>17.830814165392997</c:v>
                </c:pt>
                <c:pt idx="60">
                  <c:v>17.857520022117789</c:v>
                </c:pt>
                <c:pt idx="61">
                  <c:v>17.883047667955488</c:v>
                </c:pt>
                <c:pt idx="62">
                  <c:v>17.907473428587412</c:v>
                </c:pt>
                <c:pt idx="63">
                  <c:v>17.930912665162182</c:v>
                </c:pt>
                <c:pt idx="64">
                  <c:v>17.953366429026811</c:v>
                </c:pt>
                <c:pt idx="65">
                  <c:v>17.974940000640004</c:v>
                </c:pt>
                <c:pt idx="66">
                  <c:v>17.995681097923672</c:v>
                </c:pt>
                <c:pt idx="67">
                  <c:v>18.015700870605325</c:v>
                </c:pt>
                <c:pt idx="68">
                  <c:v>18.034934462426023</c:v>
                </c:pt>
                <c:pt idx="69">
                  <c:v>18.053523312626808</c:v>
                </c:pt>
                <c:pt idx="70">
                  <c:v>18.071452357521238</c:v>
                </c:pt>
                <c:pt idx="71">
                  <c:v>18.088751962076028</c:v>
                </c:pt>
                <c:pt idx="72">
                  <c:v>18.105506383650283</c:v>
                </c:pt>
                <c:pt idx="73">
                  <c:v>18.12169680792103</c:v>
                </c:pt>
                <c:pt idx="74">
                  <c:v>18.137456899078416</c:v>
                </c:pt>
                <c:pt idx="75">
                  <c:v>18.152717844608897</c:v>
                </c:pt>
                <c:pt idx="76">
                  <c:v>18.167545020356819</c:v>
                </c:pt>
                <c:pt idx="77">
                  <c:v>18.181897612302986</c:v>
                </c:pt>
                <c:pt idx="78">
                  <c:v>18.195906403899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6.126929223156765</c:v>
                </c:pt>
                <c:pt idx="32">
                  <c:v>16.24918119960623</c:v>
                </c:pt>
                <c:pt idx="33">
                  <c:v>16.365844719478236</c:v>
                </c:pt>
                <c:pt idx="34">
                  <c:v>16.476043006866753</c:v>
                </c:pt>
                <c:pt idx="35">
                  <c:v>16.581777649870109</c:v>
                </c:pt>
                <c:pt idx="36">
                  <c:v>16.685310844823473</c:v>
                </c:pt>
                <c:pt idx="37">
                  <c:v>16.786420818967112</c:v>
                </c:pt>
                <c:pt idx="38">
                  <c:v>16.885120091385577</c:v>
                </c:pt>
                <c:pt idx="39">
                  <c:v>16.982201341508535</c:v>
                </c:pt>
                <c:pt idx="40">
                  <c:v>17.077299518857526</c:v>
                </c:pt>
                <c:pt idx="41">
                  <c:v>17.169885790548644</c:v>
                </c:pt>
                <c:pt idx="42">
                  <c:v>17.261551690878168</c:v>
                </c:pt>
                <c:pt idx="43">
                  <c:v>17.351832420184948</c:v>
                </c:pt>
                <c:pt idx="44">
                  <c:v>17.441186921365862</c:v>
                </c:pt>
                <c:pt idx="45">
                  <c:v>17.52908037874754</c:v>
                </c:pt>
                <c:pt idx="46">
                  <c:v>17.615617782654937</c:v>
                </c:pt>
                <c:pt idx="47">
                  <c:v>17.700702500806276</c:v>
                </c:pt>
                <c:pt idx="48">
                  <c:v>17.784433752943411</c:v>
                </c:pt>
                <c:pt idx="49">
                  <c:v>17.867116759454554</c:v>
                </c:pt>
                <c:pt idx="50">
                  <c:v>17.948752035078893</c:v>
                </c:pt>
                <c:pt idx="51">
                  <c:v>18.029317639587024</c:v>
                </c:pt>
                <c:pt idx="52">
                  <c:v>18.108802137798019</c:v>
                </c:pt>
                <c:pt idx="53">
                  <c:v>18.187241132609628</c:v>
                </c:pt>
                <c:pt idx="54">
                  <c:v>18.264645217428082</c:v>
                </c:pt>
                <c:pt idx="55">
                  <c:v>18.34099978302153</c:v>
                </c:pt>
                <c:pt idx="56">
                  <c:v>18.416402774226583</c:v>
                </c:pt>
                <c:pt idx="57">
                  <c:v>18.490831313861406</c:v>
                </c:pt>
                <c:pt idx="58">
                  <c:v>18.56429643254447</c:v>
                </c:pt>
                <c:pt idx="59">
                  <c:v>18.636813719944389</c:v>
                </c:pt>
                <c:pt idx="60">
                  <c:v>18.708467423416888</c:v>
                </c:pt>
                <c:pt idx="61">
                  <c:v>18.779211102126833</c:v>
                </c:pt>
                <c:pt idx="62">
                  <c:v>18.849073980678849</c:v>
                </c:pt>
                <c:pt idx="63">
                  <c:v>18.918065800619679</c:v>
                </c:pt>
                <c:pt idx="64">
                  <c:v>18.986196266503214</c:v>
                </c:pt>
                <c:pt idx="65">
                  <c:v>19.053538731646519</c:v>
                </c:pt>
                <c:pt idx="66">
                  <c:v>19.120057372510889</c:v>
                </c:pt>
                <c:pt idx="67">
                  <c:v>19.185756014596482</c:v>
                </c:pt>
                <c:pt idx="68">
                  <c:v>19.250705616736763</c:v>
                </c:pt>
                <c:pt idx="69">
                  <c:v>19.31486630353848</c:v>
                </c:pt>
                <c:pt idx="70">
                  <c:v>19.378303781640941</c:v>
                </c:pt>
                <c:pt idx="71">
                  <c:v>19.440978099450867</c:v>
                </c:pt>
                <c:pt idx="72">
                  <c:v>19.502951064450571</c:v>
                </c:pt>
                <c:pt idx="73">
                  <c:v>19.564177501085418</c:v>
                </c:pt>
                <c:pt idx="74">
                  <c:v>19.624721640240548</c:v>
                </c:pt>
                <c:pt idx="75">
                  <c:v>19.684599237784006</c:v>
                </c:pt>
                <c:pt idx="76">
                  <c:v>19.743762028107287</c:v>
                </c:pt>
                <c:pt idx="77">
                  <c:v>19.802330473506466</c:v>
                </c:pt>
                <c:pt idx="78">
                  <c:v>19.860214075664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6.129246452055767</c:v>
                </c:pt>
                <c:pt idx="32">
                  <c:v>16.255831459341131</c:v>
                </c:pt>
                <c:pt idx="33">
                  <c:v>16.378460502827775</c:v>
                </c:pt>
                <c:pt idx="34">
                  <c:v>16.496012910924875</c:v>
                </c:pt>
                <c:pt idx="35">
                  <c:v>16.611090047585726</c:v>
                </c:pt>
                <c:pt idx="36">
                  <c:v>16.72644962504058</c:v>
                </c:pt>
                <c:pt idx="37">
                  <c:v>16.842474954568157</c:v>
                </c:pt>
                <c:pt idx="38">
                  <c:v>16.959496020358202</c:v>
                </c:pt>
                <c:pt idx="39">
                  <c:v>17.077952650130655</c:v>
                </c:pt>
                <c:pt idx="40">
                  <c:v>17.197445395562529</c:v>
                </c:pt>
                <c:pt idx="41">
                  <c:v>17.317729241715934</c:v>
                </c:pt>
                <c:pt idx="42">
                  <c:v>17.440707314095729</c:v>
                </c:pt>
                <c:pt idx="43">
                  <c:v>17.566167452852394</c:v>
                </c:pt>
                <c:pt idx="44">
                  <c:v>17.694445418476327</c:v>
                </c:pt>
                <c:pt idx="45">
                  <c:v>17.825033911041807</c:v>
                </c:pt>
                <c:pt idx="46">
                  <c:v>17.95789732028333</c:v>
                </c:pt>
                <c:pt idx="47">
                  <c:v>18.093173191286649</c:v>
                </c:pt>
                <c:pt idx="48">
                  <c:v>18.231029380263053</c:v>
                </c:pt>
                <c:pt idx="49">
                  <c:v>18.371844561095184</c:v>
                </c:pt>
                <c:pt idx="50">
                  <c:v>18.515679830514134</c:v>
                </c:pt>
                <c:pt idx="51">
                  <c:v>18.662358782285857</c:v>
                </c:pt>
                <c:pt idx="52">
                  <c:v>18.811891038606891</c:v>
                </c:pt>
                <c:pt idx="53">
                  <c:v>18.964499621681576</c:v>
                </c:pt>
                <c:pt idx="54">
                  <c:v>19.12025988532983</c:v>
                </c:pt>
                <c:pt idx="55">
                  <c:v>19.27915182194014</c:v>
                </c:pt>
                <c:pt idx="56">
                  <c:v>19.441233526397038</c:v>
                </c:pt>
                <c:pt idx="57">
                  <c:v>19.606610198749923</c:v>
                </c:pt>
                <c:pt idx="58">
                  <c:v>19.775264969117767</c:v>
                </c:pt>
                <c:pt idx="59">
                  <c:v>19.947241401388613</c:v>
                </c:pt>
                <c:pt idx="60">
                  <c:v>20.12276707118037</c:v>
                </c:pt>
                <c:pt idx="61">
                  <c:v>20.301732179132529</c:v>
                </c:pt>
                <c:pt idx="62">
                  <c:v>20.484304511138355</c:v>
                </c:pt>
                <c:pt idx="63">
                  <c:v>20.67048387292429</c:v>
                </c:pt>
                <c:pt idx="64">
                  <c:v>20.860365705718852</c:v>
                </c:pt>
                <c:pt idx="65">
                  <c:v>21.054000526040863</c:v>
                </c:pt>
                <c:pt idx="66">
                  <c:v>21.251507386585583</c:v>
                </c:pt>
                <c:pt idx="67">
                  <c:v>21.452886238778401</c:v>
                </c:pt>
                <c:pt idx="68">
                  <c:v>21.658242137574817</c:v>
                </c:pt>
                <c:pt idx="69">
                  <c:v>21.867565865723847</c:v>
                </c:pt>
                <c:pt idx="70">
                  <c:v>22.081013088623312</c:v>
                </c:pt>
                <c:pt idx="71">
                  <c:v>22.29865229318192</c:v>
                </c:pt>
                <c:pt idx="72">
                  <c:v>22.520487009620478</c:v>
                </c:pt>
                <c:pt idx="73">
                  <c:v>22.74667181915455</c:v>
                </c:pt>
                <c:pt idx="74">
                  <c:v>22.977285644572046</c:v>
                </c:pt>
                <c:pt idx="75">
                  <c:v>23.212323628551982</c:v>
                </c:pt>
                <c:pt idx="76">
                  <c:v>23.451891704636949</c:v>
                </c:pt>
                <c:pt idx="77">
                  <c:v>23.696110935248644</c:v>
                </c:pt>
                <c:pt idx="78">
                  <c:v>23.9450520738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8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3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17</c:v>
                </c:pt>
                <c:pt idx="25">
                  <c:v>17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9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20</c:v>
                </c:pt>
                <c:pt idx="39">
                  <c:v>20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9.225167983462942</c:v>
                </c:pt>
                <c:pt idx="32">
                  <c:v>19.435769889622669</c:v>
                </c:pt>
                <c:pt idx="33">
                  <c:v>19.633431450900929</c:v>
                </c:pt>
                <c:pt idx="34">
                  <c:v>19.817487352664816</c:v>
                </c:pt>
                <c:pt idx="35">
                  <c:v>19.989598853962523</c:v>
                </c:pt>
                <c:pt idx="36">
                  <c:v>20.153553427780814</c:v>
                </c:pt>
                <c:pt idx="37">
                  <c:v>20.308871337770025</c:v>
                </c:pt>
                <c:pt idx="38">
                  <c:v>20.454642161017343</c:v>
                </c:pt>
                <c:pt idx="39">
                  <c:v>20.592478695287202</c:v>
                </c:pt>
                <c:pt idx="40">
                  <c:v>20.722917621202992</c:v>
                </c:pt>
                <c:pt idx="41">
                  <c:v>20.84530353718274</c:v>
                </c:pt>
                <c:pt idx="42">
                  <c:v>20.961735008823194</c:v>
                </c:pt>
                <c:pt idx="43">
                  <c:v>21.071991325888913</c:v>
                </c:pt>
                <c:pt idx="44">
                  <c:v>21.176814082608576</c:v>
                </c:pt>
                <c:pt idx="45">
                  <c:v>21.275972633801182</c:v>
                </c:pt>
                <c:pt idx="46">
                  <c:v>21.369728512780178</c:v>
                </c:pt>
                <c:pt idx="47">
                  <c:v>21.45840167024252</c:v>
                </c:pt>
                <c:pt idx="48">
                  <c:v>21.542235255069727</c:v>
                </c:pt>
                <c:pt idx="49">
                  <c:v>21.621804279461696</c:v>
                </c:pt>
                <c:pt idx="50">
                  <c:v>21.697567383599793</c:v>
                </c:pt>
                <c:pt idx="51">
                  <c:v>21.76956755293136</c:v>
                </c:pt>
                <c:pt idx="52">
                  <c:v>21.837970652566785</c:v>
                </c:pt>
                <c:pt idx="53">
                  <c:v>21.903014643851943</c:v>
                </c:pt>
                <c:pt idx="54">
                  <c:v>21.964887303798278</c:v>
                </c:pt>
                <c:pt idx="55">
                  <c:v>22.023775626309732</c:v>
                </c:pt>
                <c:pt idx="56">
                  <c:v>22.079823961256366</c:v>
                </c:pt>
                <c:pt idx="57">
                  <c:v>22.133308557463753</c:v>
                </c:pt>
                <c:pt idx="58">
                  <c:v>22.184364800967778</c:v>
                </c:pt>
                <c:pt idx="59">
                  <c:v>22.233214357623943</c:v>
                </c:pt>
                <c:pt idx="60">
                  <c:v>22.279897656846629</c:v>
                </c:pt>
                <c:pt idx="61">
                  <c:v>22.324533742023362</c:v>
                </c:pt>
                <c:pt idx="62">
                  <c:v>22.367247928410556</c:v>
                </c:pt>
                <c:pt idx="63">
                  <c:v>22.408242678764985</c:v>
                </c:pt>
                <c:pt idx="64">
                  <c:v>22.447515733655081</c:v>
                </c:pt>
                <c:pt idx="65">
                  <c:v>22.485250594510305</c:v>
                </c:pt>
                <c:pt idx="66">
                  <c:v>22.521535857062929</c:v>
                </c:pt>
                <c:pt idx="67">
                  <c:v>22.55656750471433</c:v>
                </c:pt>
                <c:pt idx="68">
                  <c:v>22.59022363002769</c:v>
                </c:pt>
                <c:pt idx="69">
                  <c:v>22.622755736101524</c:v>
                </c:pt>
                <c:pt idx="70">
                  <c:v>22.654140640583158</c:v>
                </c:pt>
                <c:pt idx="71">
                  <c:v>22.684422137636975</c:v>
                </c:pt>
                <c:pt idx="72">
                  <c:v>22.713752234519717</c:v>
                </c:pt>
                <c:pt idx="73">
                  <c:v>22.742094435034367</c:v>
                </c:pt>
                <c:pt idx="74">
                  <c:v>22.769689535582739</c:v>
                </c:pt>
                <c:pt idx="75">
                  <c:v>22.796411256219788</c:v>
                </c:pt>
                <c:pt idx="76">
                  <c:v>22.822373821728704</c:v>
                </c:pt>
                <c:pt idx="77">
                  <c:v>22.847506666823453</c:v>
                </c:pt>
                <c:pt idx="78">
                  <c:v>22.872041687742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9.229372898430409</c:v>
                </c:pt>
                <c:pt idx="32">
                  <c:v>19.447777985198488</c:v>
                </c:pt>
                <c:pt idx="33">
                  <c:v>19.656278266443486</c:v>
                </c:pt>
                <c:pt idx="34">
                  <c:v>19.853829219832161</c:v>
                </c:pt>
                <c:pt idx="35">
                  <c:v>20.042510914385794</c:v>
                </c:pt>
                <c:pt idx="36">
                  <c:v>20.226739385358268</c:v>
                </c:pt>
                <c:pt idx="37">
                  <c:v>20.406749570896427</c:v>
                </c:pt>
                <c:pt idx="38">
                  <c:v>20.581744904197677</c:v>
                </c:pt>
                <c:pt idx="39">
                  <c:v>20.752881359213518</c:v>
                </c:pt>
                <c:pt idx="40">
                  <c:v>20.920494605527349</c:v>
                </c:pt>
                <c:pt idx="41">
                  <c:v>21.083733034583883</c:v>
                </c:pt>
                <c:pt idx="42">
                  <c:v>21.244848309161213</c:v>
                </c:pt>
                <c:pt idx="43">
                  <c:v>21.403616757088972</c:v>
                </c:pt>
                <c:pt idx="44">
                  <c:v>21.560457927476495</c:v>
                </c:pt>
                <c:pt idx="45">
                  <c:v>21.714848127910081</c:v>
                </c:pt>
                <c:pt idx="46">
                  <c:v>21.86661351121473</c:v>
                </c:pt>
                <c:pt idx="47">
                  <c:v>22.015919960287036</c:v>
                </c:pt>
                <c:pt idx="48">
                  <c:v>22.162943697025248</c:v>
                </c:pt>
                <c:pt idx="49">
                  <c:v>22.30792402708726</c:v>
                </c:pt>
                <c:pt idx="50">
                  <c:v>22.451128689243735</c:v>
                </c:pt>
                <c:pt idx="51">
                  <c:v>22.592552015010522</c:v>
                </c:pt>
                <c:pt idx="52">
                  <c:v>22.731997558378215</c:v>
                </c:pt>
                <c:pt idx="53">
                  <c:v>22.869507628870618</c:v>
                </c:pt>
                <c:pt idx="54">
                  <c:v>23.005243659981801</c:v>
                </c:pt>
                <c:pt idx="55">
                  <c:v>23.13918814903947</c:v>
                </c:pt>
                <c:pt idx="56">
                  <c:v>23.27135589595191</c:v>
                </c:pt>
                <c:pt idx="57">
                  <c:v>23.401814292928126</c:v>
                </c:pt>
                <c:pt idx="58">
                  <c:v>23.530680868928535</c:v>
                </c:pt>
                <c:pt idx="59">
                  <c:v>23.657870876378198</c:v>
                </c:pt>
                <c:pt idx="60">
                  <c:v>23.783512873915793</c:v>
                </c:pt>
                <c:pt idx="61">
                  <c:v>23.907570538284109</c:v>
                </c:pt>
                <c:pt idx="62">
                  <c:v>24.030083608856323</c:v>
                </c:pt>
                <c:pt idx="63">
                  <c:v>24.151068207644713</c:v>
                </c:pt>
                <c:pt idx="64">
                  <c:v>24.270542573674948</c:v>
                </c:pt>
                <c:pt idx="65">
                  <c:v>24.388638577732817</c:v>
                </c:pt>
                <c:pt idx="66">
                  <c:v>24.505294028953671</c:v>
                </c:pt>
                <c:pt idx="67">
                  <c:v>24.62051070051416</c:v>
                </c:pt>
                <c:pt idx="68">
                  <c:v>24.734415581326772</c:v>
                </c:pt>
                <c:pt idx="69">
                  <c:v>24.846939004221998</c:v>
                </c:pt>
                <c:pt idx="70">
                  <c:v>24.958195013644747</c:v>
                </c:pt>
                <c:pt idx="71">
                  <c:v>25.068113829322101</c:v>
                </c:pt>
                <c:pt idx="72">
                  <c:v>25.176804100605185</c:v>
                </c:pt>
                <c:pt idx="73">
                  <c:v>25.284184467546726</c:v>
                </c:pt>
                <c:pt idx="74">
                  <c:v>25.390366832547713</c:v>
                </c:pt>
                <c:pt idx="75">
                  <c:v>25.495383091943438</c:v>
                </c:pt>
                <c:pt idx="76">
                  <c:v>25.599144836565426</c:v>
                </c:pt>
                <c:pt idx="77">
                  <c:v>25.701866554051755</c:v>
                </c:pt>
                <c:pt idx="78">
                  <c:v>25.803389391389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9.233577813397822</c:v>
                </c:pt>
                <c:pt idx="32">
                  <c:v>19.459902883967754</c:v>
                </c:pt>
                <c:pt idx="33">
                  <c:v>19.679283435406084</c:v>
                </c:pt>
                <c:pt idx="34">
                  <c:v>19.890246981852094</c:v>
                </c:pt>
                <c:pt idx="35">
                  <c:v>20.095957781197505</c:v>
                </c:pt>
                <c:pt idx="36">
                  <c:v>20.301676115872691</c:v>
                </c:pt>
                <c:pt idx="37">
                  <c:v>20.508639248926983</c:v>
                </c:pt>
                <c:pt idx="38">
                  <c:v>20.716612029003333</c:v>
                </c:pt>
                <c:pt idx="39">
                  <c:v>20.926103096066164</c:v>
                </c:pt>
                <c:pt idx="40">
                  <c:v>21.137331406505723</c:v>
                </c:pt>
                <c:pt idx="41">
                  <c:v>21.349970802753202</c:v>
                </c:pt>
                <c:pt idx="42">
                  <c:v>21.566868452612137</c:v>
                </c:pt>
                <c:pt idx="43">
                  <c:v>21.78821823722155</c:v>
                </c:pt>
                <c:pt idx="44">
                  <c:v>22.014219279172622</c:v>
                </c:pt>
                <c:pt idx="45">
                  <c:v>22.244368398027849</c:v>
                </c:pt>
                <c:pt idx="46">
                  <c:v>22.478272371234617</c:v>
                </c:pt>
                <c:pt idx="47">
                  <c:v>22.716520379182779</c:v>
                </c:pt>
                <c:pt idx="48">
                  <c:v>22.959418734870397</c:v>
                </c:pt>
                <c:pt idx="49">
                  <c:v>23.207325441421304</c:v>
                </c:pt>
                <c:pt idx="50">
                  <c:v>23.460597030406678</c:v>
                </c:pt>
                <c:pt idx="51">
                  <c:v>23.71895378523314</c:v>
                </c:pt>
                <c:pt idx="52">
                  <c:v>23.982229258123525</c:v>
                </c:pt>
                <c:pt idx="53">
                  <c:v>24.250814569621134</c:v>
                </c:pt>
                <c:pt idx="54">
                  <c:v>24.524989763482537</c:v>
                </c:pt>
                <c:pt idx="55">
                  <c:v>24.804722185127606</c:v>
                </c:pt>
                <c:pt idx="56">
                  <c:v>25.089952350796914</c:v>
                </c:pt>
                <c:pt idx="57">
                  <c:v>25.380974758322168</c:v>
                </c:pt>
                <c:pt idx="58">
                  <c:v>25.677865297944482</c:v>
                </c:pt>
                <c:pt idx="59">
                  <c:v>25.980584502877587</c:v>
                </c:pt>
                <c:pt idx="60">
                  <c:v>26.289523597867898</c:v>
                </c:pt>
                <c:pt idx="61">
                  <c:v>26.604524410702922</c:v>
                </c:pt>
                <c:pt idx="62">
                  <c:v>26.925865032822809</c:v>
                </c:pt>
                <c:pt idx="63">
                  <c:v>27.253550424373927</c:v>
                </c:pt>
                <c:pt idx="64">
                  <c:v>27.587750951894002</c:v>
                </c:pt>
                <c:pt idx="65">
                  <c:v>27.928560473834366</c:v>
                </c:pt>
                <c:pt idx="66">
                  <c:v>28.276188785641864</c:v>
                </c:pt>
                <c:pt idx="67">
                  <c:v>28.630629595795142</c:v>
                </c:pt>
                <c:pt idx="68">
                  <c:v>28.992065372391949</c:v>
                </c:pt>
                <c:pt idx="69">
                  <c:v>29.360478705082144</c:v>
                </c:pt>
                <c:pt idx="70">
                  <c:v>29.736149136017843</c:v>
                </c:pt>
                <c:pt idx="71">
                  <c:v>30.11919876649084</c:v>
                </c:pt>
                <c:pt idx="72">
                  <c:v>30.509624905660203</c:v>
                </c:pt>
                <c:pt idx="73">
                  <c:v>30.907706363204785</c:v>
                </c:pt>
                <c:pt idx="74">
                  <c:v>31.313582943258972</c:v>
                </c:pt>
                <c:pt idx="75">
                  <c:v>31.727243864512154</c:v>
                </c:pt>
                <c:pt idx="76">
                  <c:v>32.148872618981393</c:v>
                </c:pt>
                <c:pt idx="77">
                  <c:v>32.578690372287305</c:v>
                </c:pt>
                <c:pt idx="78">
                  <c:v>33.016820428227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18</c:v>
                </c:pt>
                <c:pt idx="20">
                  <c:v>18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9</c:v>
                </c:pt>
                <c:pt idx="35">
                  <c:v>19</c:v>
                </c:pt>
                <c:pt idx="36">
                  <c:v>19</c:v>
                </c:pt>
                <c:pt idx="37">
                  <c:v>20</c:v>
                </c:pt>
                <c:pt idx="38">
                  <c:v>20</c:v>
                </c:pt>
                <c:pt idx="39">
                  <c:v>20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1</c:v>
                </c:pt>
                <c:pt idx="48">
                  <c:v>21</c:v>
                </c:pt>
                <c:pt idx="49">
                  <c:v>21</c:v>
                </c:pt>
                <c:pt idx="50">
                  <c:v>21</c:v>
                </c:pt>
                <c:pt idx="51">
                  <c:v>21</c:v>
                </c:pt>
                <c:pt idx="52">
                  <c:v>21</c:v>
                </c:pt>
                <c:pt idx="53">
                  <c:v>21</c:v>
                </c:pt>
                <c:pt idx="54">
                  <c:v>2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5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5</c:v>
                </c:pt>
                <c:pt idx="3">
                  <c:v>26</c:v>
                </c:pt>
                <c:pt idx="4">
                  <c:v>40</c:v>
                </c:pt>
                <c:pt idx="5">
                  <c:v>48</c:v>
                </c:pt>
                <c:pt idx="6">
                  <c:v>55</c:v>
                </c:pt>
                <c:pt idx="7">
                  <c:v>61</c:v>
                </c:pt>
                <c:pt idx="8">
                  <c:v>67</c:v>
                </c:pt>
                <c:pt idx="9">
                  <c:v>75</c:v>
                </c:pt>
                <c:pt idx="10">
                  <c:v>82</c:v>
                </c:pt>
                <c:pt idx="11">
                  <c:v>85</c:v>
                </c:pt>
                <c:pt idx="12">
                  <c:v>90</c:v>
                </c:pt>
                <c:pt idx="13">
                  <c:v>96</c:v>
                </c:pt>
                <c:pt idx="14">
                  <c:v>99</c:v>
                </c:pt>
                <c:pt idx="15">
                  <c:v>101</c:v>
                </c:pt>
                <c:pt idx="16">
                  <c:v>102</c:v>
                </c:pt>
                <c:pt idx="17">
                  <c:v>106</c:v>
                </c:pt>
                <c:pt idx="18">
                  <c:v>108</c:v>
                </c:pt>
                <c:pt idx="19">
                  <c:v>111</c:v>
                </c:pt>
                <c:pt idx="20">
                  <c:v>113</c:v>
                </c:pt>
                <c:pt idx="21">
                  <c:v>116</c:v>
                </c:pt>
                <c:pt idx="22">
                  <c:v>117</c:v>
                </c:pt>
                <c:pt idx="23">
                  <c:v>120</c:v>
                </c:pt>
                <c:pt idx="24">
                  <c:v>123</c:v>
                </c:pt>
                <c:pt idx="25">
                  <c:v>126</c:v>
                </c:pt>
                <c:pt idx="26">
                  <c:v>129</c:v>
                </c:pt>
                <c:pt idx="27">
                  <c:v>129</c:v>
                </c:pt>
                <c:pt idx="28">
                  <c:v>129</c:v>
                </c:pt>
                <c:pt idx="29">
                  <c:v>130</c:v>
                </c:pt>
                <c:pt idx="30">
                  <c:v>132</c:v>
                </c:pt>
                <c:pt idx="31">
                  <c:v>132</c:v>
                </c:pt>
                <c:pt idx="32">
                  <c:v>133</c:v>
                </c:pt>
                <c:pt idx="33">
                  <c:v>134</c:v>
                </c:pt>
                <c:pt idx="34">
                  <c:v>134</c:v>
                </c:pt>
                <c:pt idx="35">
                  <c:v>135</c:v>
                </c:pt>
                <c:pt idx="36">
                  <c:v>136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8</c:v>
                </c:pt>
                <c:pt idx="41">
                  <c:v>138</c:v>
                </c:pt>
                <c:pt idx="42">
                  <c:v>139</c:v>
                </c:pt>
                <c:pt idx="43">
                  <c:v>139</c:v>
                </c:pt>
                <c:pt idx="44">
                  <c:v>139</c:v>
                </c:pt>
                <c:pt idx="45">
                  <c:v>139</c:v>
                </c:pt>
                <c:pt idx="46">
                  <c:v>139</c:v>
                </c:pt>
                <c:pt idx="47">
                  <c:v>139</c:v>
                </c:pt>
                <c:pt idx="48">
                  <c:v>140</c:v>
                </c:pt>
                <c:pt idx="49">
                  <c:v>141</c:v>
                </c:pt>
                <c:pt idx="50">
                  <c:v>142</c:v>
                </c:pt>
                <c:pt idx="51">
                  <c:v>142</c:v>
                </c:pt>
                <c:pt idx="52">
                  <c:v>142</c:v>
                </c:pt>
                <c:pt idx="53">
                  <c:v>142</c:v>
                </c:pt>
                <c:pt idx="54">
                  <c:v>142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3.29067430725451</c:v>
                </c:pt>
                <c:pt idx="32">
                  <c:v>134.49871458836682</c:v>
                </c:pt>
                <c:pt idx="33">
                  <c:v>135.63251903069082</c:v>
                </c:pt>
                <c:pt idx="34">
                  <c:v>136.68810043174605</c:v>
                </c:pt>
                <c:pt idx="35">
                  <c:v>137.67548993549309</c:v>
                </c:pt>
                <c:pt idx="36">
                  <c:v>138.61626836364798</c:v>
                </c:pt>
                <c:pt idx="37">
                  <c:v>139.50744656844836</c:v>
                </c:pt>
                <c:pt idx="38">
                  <c:v>140.34407171568338</c:v>
                </c:pt>
                <c:pt idx="39">
                  <c:v>141.13547503040905</c:v>
                </c:pt>
                <c:pt idx="40">
                  <c:v>141.88438944432215</c:v>
                </c:pt>
                <c:pt idx="41">
                  <c:v>142.58703133363466</c:v>
                </c:pt>
                <c:pt idx="42">
                  <c:v>143.25564956058824</c:v>
                </c:pt>
                <c:pt idx="43">
                  <c:v>143.88876877627544</c:v>
                </c:pt>
                <c:pt idx="44">
                  <c:v>144.49078289740146</c:v>
                </c:pt>
                <c:pt idx="45">
                  <c:v>145.06021454953196</c:v>
                </c:pt>
                <c:pt idx="46">
                  <c:v>145.59869672969739</c:v>
                </c:pt>
                <c:pt idx="47">
                  <c:v>146.10795674093532</c:v>
                </c:pt>
                <c:pt idx="48">
                  <c:v>146.58939208478179</c:v>
                </c:pt>
                <c:pt idx="49">
                  <c:v>147.04640394777641</c:v>
                </c:pt>
                <c:pt idx="50">
                  <c:v>147.48152874271926</c:v>
                </c:pt>
                <c:pt idx="51">
                  <c:v>147.8950067257642</c:v>
                </c:pt>
                <c:pt idx="52">
                  <c:v>148.28784905360675</c:v>
                </c:pt>
                <c:pt idx="53">
                  <c:v>148.66142901889762</c:v>
                </c:pt>
                <c:pt idx="54">
                  <c:v>149.01677968312424</c:v>
                </c:pt>
                <c:pt idx="55">
                  <c:v>149.35497522946227</c:v>
                </c:pt>
                <c:pt idx="56">
                  <c:v>149.67689630962121</c:v>
                </c:pt>
                <c:pt idx="57">
                  <c:v>149.98408954562075</c:v>
                </c:pt>
                <c:pt idx="58">
                  <c:v>150.27730215774156</c:v>
                </c:pt>
                <c:pt idx="59">
                  <c:v>150.5578460304051</c:v>
                </c:pt>
                <c:pt idx="60">
                  <c:v>150.82595936024248</c:v>
                </c:pt>
                <c:pt idx="61">
                  <c:v>151.08231080769946</c:v>
                </c:pt>
                <c:pt idx="62">
                  <c:v>151.32762287056946</c:v>
                </c:pt>
                <c:pt idx="63">
                  <c:v>151.56305806442825</c:v>
                </c:pt>
                <c:pt idx="64">
                  <c:v>151.78860481915353</c:v>
                </c:pt>
                <c:pt idx="65">
                  <c:v>152.00531721073963</c:v>
                </c:pt>
                <c:pt idx="66">
                  <c:v>152.21370228689403</c:v>
                </c:pt>
                <c:pt idx="67">
                  <c:v>152.41488504782058</c:v>
                </c:pt>
                <c:pt idx="68">
                  <c:v>152.60816827960514</c:v>
                </c:pt>
                <c:pt idx="69">
                  <c:v>152.7949949625243</c:v>
                </c:pt>
                <c:pt idx="70">
                  <c:v>152.97523087366179</c:v>
                </c:pt>
                <c:pt idx="71">
                  <c:v>153.14913072048529</c:v>
                </c:pt>
                <c:pt idx="72">
                  <c:v>153.31756589659662</c:v>
                </c:pt>
                <c:pt idx="73">
                  <c:v>153.48032803393821</c:v>
                </c:pt>
                <c:pt idx="74">
                  <c:v>153.63879763159383</c:v>
                </c:pt>
                <c:pt idx="75">
                  <c:v>153.79225149035219</c:v>
                </c:pt>
                <c:pt idx="76">
                  <c:v>153.94134564954908</c:v>
                </c:pt>
                <c:pt idx="77">
                  <c:v>154.08567456822843</c:v>
                </c:pt>
                <c:pt idx="78">
                  <c:v>154.2265689561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3.31477118541827</c:v>
                </c:pt>
                <c:pt idx="32">
                  <c:v>134.56750983983559</c:v>
                </c:pt>
                <c:pt idx="33">
                  <c:v>135.76340947048178</c:v>
                </c:pt>
                <c:pt idx="34">
                  <c:v>136.89630359121372</c:v>
                </c:pt>
                <c:pt idx="35">
                  <c:v>137.97862552760535</c:v>
                </c:pt>
                <c:pt idx="36">
                  <c:v>139.03557918782874</c:v>
                </c:pt>
                <c:pt idx="37">
                  <c:v>140.06830017422098</c:v>
                </c:pt>
                <c:pt idx="38">
                  <c:v>141.07249453749881</c:v>
                </c:pt>
                <c:pt idx="39">
                  <c:v>142.05488014465811</c:v>
                </c:pt>
                <c:pt idx="40">
                  <c:v>143.01705058116218</c:v>
                </c:pt>
                <c:pt idx="41">
                  <c:v>143.95408986108217</c:v>
                </c:pt>
                <c:pt idx="42">
                  <c:v>144.87911188399747</c:v>
                </c:pt>
                <c:pt idx="43">
                  <c:v>145.79062994039143</c:v>
                </c:pt>
                <c:pt idx="44">
                  <c:v>146.69118496119259</c:v>
                </c:pt>
                <c:pt idx="45">
                  <c:v>147.57762811796294</c:v>
                </c:pt>
                <c:pt idx="46">
                  <c:v>148.44908363015253</c:v>
                </c:pt>
                <c:pt idx="47">
                  <c:v>149.30638928603378</c:v>
                </c:pt>
                <c:pt idx="48">
                  <c:v>150.15055621570241</c:v>
                </c:pt>
                <c:pt idx="49">
                  <c:v>150.98305980194394</c:v>
                </c:pt>
                <c:pt idx="50">
                  <c:v>151.80534614296351</c:v>
                </c:pt>
                <c:pt idx="51">
                  <c:v>152.61737146480903</c:v>
                </c:pt>
                <c:pt idx="52">
                  <c:v>153.41806809792118</c:v>
                </c:pt>
                <c:pt idx="53">
                  <c:v>154.20768587546712</c:v>
                </c:pt>
                <c:pt idx="54">
                  <c:v>154.9871028943586</c:v>
                </c:pt>
                <c:pt idx="55">
                  <c:v>155.75621587462604</c:v>
                </c:pt>
                <c:pt idx="56">
                  <c:v>156.51516350267627</c:v>
                </c:pt>
                <c:pt idx="57">
                  <c:v>157.26429597012873</c:v>
                </c:pt>
                <c:pt idx="58">
                  <c:v>158.00425455174079</c:v>
                </c:pt>
                <c:pt idx="59">
                  <c:v>158.73459096440891</c:v>
                </c:pt>
                <c:pt idx="60">
                  <c:v>159.45604997319541</c:v>
                </c:pt>
                <c:pt idx="61">
                  <c:v>160.16840756801031</c:v>
                </c:pt>
                <c:pt idx="62">
                  <c:v>160.87189587623146</c:v>
                </c:pt>
                <c:pt idx="63">
                  <c:v>161.56660780165328</c:v>
                </c:pt>
                <c:pt idx="64">
                  <c:v>162.25264765774665</c:v>
                </c:pt>
                <c:pt idx="65">
                  <c:v>162.93077155874514</c:v>
                </c:pt>
                <c:pt idx="66">
                  <c:v>163.60062217985637</c:v>
                </c:pt>
                <c:pt idx="67">
                  <c:v>164.26221139153435</c:v>
                </c:pt>
                <c:pt idx="68">
                  <c:v>164.91626750920665</c:v>
                </c:pt>
                <c:pt idx="69">
                  <c:v>165.5623904049219</c:v>
                </c:pt>
                <c:pt idx="70">
                  <c:v>166.20123534266622</c:v>
                </c:pt>
                <c:pt idx="71">
                  <c:v>166.83240153800989</c:v>
                </c:pt>
                <c:pt idx="72">
                  <c:v>167.45651278193836</c:v>
                </c:pt>
                <c:pt idx="73">
                  <c:v>168.07310262540358</c:v>
                </c:pt>
                <c:pt idx="74">
                  <c:v>168.682813879902</c:v>
                </c:pt>
                <c:pt idx="75">
                  <c:v>169.28582823916497</c:v>
                </c:pt>
                <c:pt idx="76">
                  <c:v>169.88163933431767</c:v>
                </c:pt>
                <c:pt idx="77">
                  <c:v>170.47147767598338</c:v>
                </c:pt>
                <c:pt idx="78">
                  <c:v>171.05443115889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3.33886806358169</c:v>
                </c:pt>
                <c:pt idx="32">
                  <c:v>134.63697444903053</c:v>
                </c:pt>
                <c:pt idx="33">
                  <c:v>135.89520685288952</c:v>
                </c:pt>
                <c:pt idx="34">
                  <c:v>137.10494144855622</c:v>
                </c:pt>
                <c:pt idx="35">
                  <c:v>138.28482604701796</c:v>
                </c:pt>
                <c:pt idx="36">
                  <c:v>139.46492080073688</c:v>
                </c:pt>
                <c:pt idx="37">
                  <c:v>140.6521369169466</c:v>
                </c:pt>
                <c:pt idx="38">
                  <c:v>141.84540256883292</c:v>
                </c:pt>
                <c:pt idx="39">
                  <c:v>143.04772830883567</c:v>
                </c:pt>
                <c:pt idx="40">
                  <c:v>144.26005683246842</c:v>
                </c:pt>
                <c:pt idx="41">
                  <c:v>145.48047987989685</c:v>
                </c:pt>
                <c:pt idx="42">
                  <c:v>146.72551403256298</c:v>
                </c:pt>
                <c:pt idx="43">
                  <c:v>147.99607895270779</c:v>
                </c:pt>
                <c:pt idx="44">
                  <c:v>149.29345135861794</c:v>
                </c:pt>
                <c:pt idx="45">
                  <c:v>150.61460969597547</c:v>
                </c:pt>
                <c:pt idx="46">
                  <c:v>151.95740919683692</c:v>
                </c:pt>
                <c:pt idx="47">
                  <c:v>153.32511396235901</c:v>
                </c:pt>
                <c:pt idx="48">
                  <c:v>154.71947879645796</c:v>
                </c:pt>
                <c:pt idx="49">
                  <c:v>156.14266412033214</c:v>
                </c:pt>
                <c:pt idx="50">
                  <c:v>157.59663186250455</c:v>
                </c:pt>
                <c:pt idx="51">
                  <c:v>159.07976570963046</c:v>
                </c:pt>
                <c:pt idx="52">
                  <c:v>160.59117261703116</c:v>
                </c:pt>
                <c:pt idx="53">
                  <c:v>162.13309844896307</c:v>
                </c:pt>
                <c:pt idx="54">
                  <c:v>163.7071006540036</c:v>
                </c:pt>
                <c:pt idx="55">
                  <c:v>165.31299089285315</c:v>
                </c:pt>
                <c:pt idx="56">
                  <c:v>166.95048281014155</c:v>
                </c:pt>
                <c:pt idx="57">
                  <c:v>168.62122981418963</c:v>
                </c:pt>
                <c:pt idx="58">
                  <c:v>170.32563159037085</c:v>
                </c:pt>
                <c:pt idx="59">
                  <c:v>172.06350115637213</c:v>
                </c:pt>
                <c:pt idx="60">
                  <c:v>173.83708767119487</c:v>
                </c:pt>
                <c:pt idx="61">
                  <c:v>175.64547112527526</c:v>
                </c:pt>
                <c:pt idx="62">
                  <c:v>177.49025388392619</c:v>
                </c:pt>
                <c:pt idx="63">
                  <c:v>179.37146261537376</c:v>
                </c:pt>
                <c:pt idx="64">
                  <c:v>181.29007456365892</c:v>
                </c:pt>
                <c:pt idx="65">
                  <c:v>183.24662687433008</c:v>
                </c:pt>
                <c:pt idx="66">
                  <c:v>185.24232387441739</c:v>
                </c:pt>
                <c:pt idx="67">
                  <c:v>187.27713156056078</c:v>
                </c:pt>
                <c:pt idx="68">
                  <c:v>189.35209829346138</c:v>
                </c:pt>
                <c:pt idx="69">
                  <c:v>191.46712452687788</c:v>
                </c:pt>
                <c:pt idx="70">
                  <c:v>193.62381318767032</c:v>
                </c:pt>
                <c:pt idx="71">
                  <c:v>195.82286471495965</c:v>
                </c:pt>
                <c:pt idx="72">
                  <c:v>198.06426669633737</c:v>
                </c:pt>
                <c:pt idx="73">
                  <c:v>200.34961745279855</c:v>
                </c:pt>
                <c:pt idx="74">
                  <c:v>202.67971928034166</c:v>
                </c:pt>
                <c:pt idx="75">
                  <c:v>205.05451104549681</c:v>
                </c:pt>
                <c:pt idx="76">
                  <c:v>207.47504716528169</c:v>
                </c:pt>
                <c:pt idx="77">
                  <c:v>209.94259457150062</c:v>
                </c:pt>
                <c:pt idx="78">
                  <c:v>212.45786155673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5</c:v>
                </c:pt>
                <c:pt idx="3">
                  <c:v>7</c:v>
                </c:pt>
                <c:pt idx="4">
                  <c:v>9</c:v>
                </c:pt>
                <c:pt idx="5">
                  <c:v>10</c:v>
                </c:pt>
                <c:pt idx="6">
                  <c:v>14</c:v>
                </c:pt>
                <c:pt idx="7">
                  <c:v>14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3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  <c:pt idx="17">
                  <c:v>33</c:v>
                </c:pt>
                <c:pt idx="18">
                  <c:v>35</c:v>
                </c:pt>
                <c:pt idx="19">
                  <c:v>37</c:v>
                </c:pt>
                <c:pt idx="20">
                  <c:v>38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2</c:v>
                </c:pt>
                <c:pt idx="29">
                  <c:v>42</c:v>
                </c:pt>
                <c:pt idx="30">
                  <c:v>42</c:v>
                </c:pt>
                <c:pt idx="31">
                  <c:v>43</c:v>
                </c:pt>
                <c:pt idx="32">
                  <c:v>43</c:v>
                </c:pt>
                <c:pt idx="33">
                  <c:v>43</c:v>
                </c:pt>
                <c:pt idx="34">
                  <c:v>44</c:v>
                </c:pt>
                <c:pt idx="35">
                  <c:v>44</c:v>
                </c:pt>
                <c:pt idx="36">
                  <c:v>44</c:v>
                </c:pt>
                <c:pt idx="37">
                  <c:v>45</c:v>
                </c:pt>
                <c:pt idx="38">
                  <c:v>45</c:v>
                </c:pt>
                <c:pt idx="39">
                  <c:v>45</c:v>
                </c:pt>
                <c:pt idx="40">
                  <c:v>45</c:v>
                </c:pt>
                <c:pt idx="41">
                  <c:v>45</c:v>
                </c:pt>
                <c:pt idx="42">
                  <c:v>45</c:v>
                </c:pt>
                <c:pt idx="43">
                  <c:v>45</c:v>
                </c:pt>
                <c:pt idx="44">
                  <c:v>45</c:v>
                </c:pt>
                <c:pt idx="45">
                  <c:v>45</c:v>
                </c:pt>
                <c:pt idx="46">
                  <c:v>45</c:v>
                </c:pt>
                <c:pt idx="47">
                  <c:v>45</c:v>
                </c:pt>
                <c:pt idx="48">
                  <c:v>46</c:v>
                </c:pt>
                <c:pt idx="49">
                  <c:v>46</c:v>
                </c:pt>
                <c:pt idx="50">
                  <c:v>46</c:v>
                </c:pt>
                <c:pt idx="51">
                  <c:v>46</c:v>
                </c:pt>
                <c:pt idx="52">
                  <c:v>46</c:v>
                </c:pt>
                <c:pt idx="53">
                  <c:v>46</c:v>
                </c:pt>
                <c:pt idx="54">
                  <c:v>4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2.560850764605661</c:v>
                </c:pt>
                <c:pt idx="32">
                  <c:v>43.087855351394275</c:v>
                </c:pt>
                <c:pt idx="33">
                  <c:v>43.582454803736162</c:v>
                </c:pt>
                <c:pt idx="34">
                  <c:v>44.042500124139266</c:v>
                </c:pt>
                <c:pt idx="35">
                  <c:v>44.473570575245695</c:v>
                </c:pt>
                <c:pt idx="36">
                  <c:v>44.88473406501641</c:v>
                </c:pt>
                <c:pt idx="37">
                  <c:v>45.274117716265849</c:v>
                </c:pt>
                <c:pt idx="38">
                  <c:v>45.640206813781148</c:v>
                </c:pt>
                <c:pt idx="39">
                  <c:v>45.987263859293328</c:v>
                </c:pt>
                <c:pt idx="40">
                  <c:v>46.315652800704946</c:v>
                </c:pt>
                <c:pt idx="41">
                  <c:v>46.623665142368893</c:v>
                </c:pt>
                <c:pt idx="42">
                  <c:v>46.917150717014465</c:v>
                </c:pt>
                <c:pt idx="43">
                  <c:v>47.194964135141191</c:v>
                </c:pt>
                <c:pt idx="44">
                  <c:v>47.459357906769526</c:v>
                </c:pt>
                <c:pt idx="45">
                  <c:v>47.70931750890766</c:v>
                </c:pt>
                <c:pt idx="46">
                  <c:v>47.945873683415158</c:v>
                </c:pt>
                <c:pt idx="47">
                  <c:v>48.16952113348205</c:v>
                </c:pt>
                <c:pt idx="48">
                  <c:v>48.380876149673</c:v>
                </c:pt>
                <c:pt idx="49">
                  <c:v>48.581669009434869</c:v>
                </c:pt>
                <c:pt idx="50">
                  <c:v>48.772779913207451</c:v>
                </c:pt>
                <c:pt idx="51">
                  <c:v>48.954298536859021</c:v>
                </c:pt>
                <c:pt idx="52">
                  <c:v>49.126809179092469</c:v>
                </c:pt>
                <c:pt idx="53">
                  <c:v>49.290930867245713</c:v>
                </c:pt>
                <c:pt idx="54">
                  <c:v>49.447008674959044</c:v>
                </c:pt>
                <c:pt idx="55">
                  <c:v>49.595514955050959</c:v>
                </c:pt>
                <c:pt idx="56">
                  <c:v>49.73696007665167</c:v>
                </c:pt>
                <c:pt idx="57">
                  <c:v>49.871927714132191</c:v>
                </c:pt>
                <c:pt idx="58">
                  <c:v>50.000673433627455</c:v>
                </c:pt>
                <c:pt idx="59">
                  <c:v>50.123866335485211</c:v>
                </c:pt>
                <c:pt idx="60">
                  <c:v>50.241625405712519</c:v>
                </c:pt>
                <c:pt idx="61">
                  <c:v>50.354208335660537</c:v>
                </c:pt>
                <c:pt idx="62">
                  <c:v>50.461939117634969</c:v>
                </c:pt>
                <c:pt idx="63">
                  <c:v>50.565327682861437</c:v>
                </c:pt>
                <c:pt idx="64">
                  <c:v>50.664372316510956</c:v>
                </c:pt>
                <c:pt idx="65">
                  <c:v>50.759536422578975</c:v>
                </c:pt>
                <c:pt idx="66">
                  <c:v>50.851038444917783</c:v>
                </c:pt>
                <c:pt idx="67">
                  <c:v>50.939371112336261</c:v>
                </c:pt>
                <c:pt idx="68">
                  <c:v>51.024235212667158</c:v>
                </c:pt>
                <c:pt idx="69">
                  <c:v>51.106261022422942</c:v>
                </c:pt>
                <c:pt idx="70">
                  <c:v>51.18538700069</c:v>
                </c:pt>
                <c:pt idx="71">
                  <c:v>51.261732648866555</c:v>
                </c:pt>
                <c:pt idx="72">
                  <c:v>51.335676815711039</c:v>
                </c:pt>
                <c:pt idx="73">
                  <c:v>51.407130947769019</c:v>
                </c:pt>
                <c:pt idx="74">
                  <c:v>51.476695508586552</c:v>
                </c:pt>
                <c:pt idx="75">
                  <c:v>51.544057782975798</c:v>
                </c:pt>
                <c:pt idx="76">
                  <c:v>51.609505958286086</c:v>
                </c:pt>
                <c:pt idx="77">
                  <c:v>51.672861274491424</c:v>
                </c:pt>
                <c:pt idx="78">
                  <c:v>51.73470550262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2.571307671933631</c:v>
                </c:pt>
                <c:pt idx="32">
                  <c:v>43.117663916388253</c:v>
                </c:pt>
                <c:pt idx="33">
                  <c:v>43.639167336100407</c:v>
                </c:pt>
                <c:pt idx="34">
                  <c:v>44.132708402413328</c:v>
                </c:pt>
                <c:pt idx="35">
                  <c:v>44.604913922077166</c:v>
                </c:pt>
                <c:pt idx="36">
                  <c:v>45.066474483505225</c:v>
                </c:pt>
                <c:pt idx="37">
                  <c:v>45.517377227133551</c:v>
                </c:pt>
                <c:pt idx="38">
                  <c:v>45.956408756861883</c:v>
                </c:pt>
                <c:pt idx="39">
                  <c:v>46.386708387345458</c:v>
                </c:pt>
                <c:pt idx="40">
                  <c:v>46.808175820625181</c:v>
                </c:pt>
                <c:pt idx="41">
                  <c:v>47.218592047537712</c:v>
                </c:pt>
                <c:pt idx="42">
                  <c:v>47.624152753692769</c:v>
                </c:pt>
                <c:pt idx="43">
                  <c:v>48.023721087802315</c:v>
                </c:pt>
                <c:pt idx="44">
                  <c:v>48.418727553910536</c:v>
                </c:pt>
                <c:pt idx="45">
                  <c:v>48.807451242131442</c:v>
                </c:pt>
                <c:pt idx="46">
                  <c:v>49.189801172896225</c:v>
                </c:pt>
                <c:pt idx="47">
                  <c:v>49.565870189815577</c:v>
                </c:pt>
                <c:pt idx="48">
                  <c:v>49.936100110392935</c:v>
                </c:pt>
                <c:pt idx="49">
                  <c:v>50.301380733057989</c:v>
                </c:pt>
                <c:pt idx="50">
                  <c:v>50.662127927961905</c:v>
                </c:pt>
                <c:pt idx="51">
                  <c:v>51.018295610564252</c:v>
                </c:pt>
                <c:pt idx="52">
                  <c:v>51.369559849742863</c:v>
                </c:pt>
                <c:pt idx="53">
                  <c:v>51.716046750185825</c:v>
                </c:pt>
                <c:pt idx="54">
                  <c:v>52.058024542599533</c:v>
                </c:pt>
                <c:pt idx="55">
                  <c:v>52.39544126214777</c:v>
                </c:pt>
                <c:pt idx="56">
                  <c:v>52.72848635491065</c:v>
                </c:pt>
                <c:pt idx="57">
                  <c:v>53.057225387602983</c:v>
                </c:pt>
                <c:pt idx="58">
                  <c:v>53.381859282164832</c:v>
                </c:pt>
                <c:pt idx="59">
                  <c:v>53.702283182291666</c:v>
                </c:pt>
                <c:pt idx="60">
                  <c:v>54.018839574378184</c:v>
                </c:pt>
                <c:pt idx="61">
                  <c:v>54.331393207955983</c:v>
                </c:pt>
                <c:pt idx="62">
                  <c:v>54.640055360881341</c:v>
                </c:pt>
                <c:pt idx="63">
                  <c:v>54.944867582902759</c:v>
                </c:pt>
                <c:pt idx="64">
                  <c:v>55.245874642251628</c:v>
                </c:pt>
                <c:pt idx="65">
                  <c:v>55.543405639284948</c:v>
                </c:pt>
                <c:pt idx="66">
                  <c:v>55.837303278146699</c:v>
                </c:pt>
                <c:pt idx="67">
                  <c:v>56.127576810610968</c:v>
                </c:pt>
                <c:pt idx="68">
                  <c:v>56.41454369950899</c:v>
                </c:pt>
                <c:pt idx="69">
                  <c:v>56.698028172559511</c:v>
                </c:pt>
                <c:pt idx="70">
                  <c:v>56.97831869993896</c:v>
                </c:pt>
                <c:pt idx="71">
                  <c:v>57.255239204515725</c:v>
                </c:pt>
                <c:pt idx="72">
                  <c:v>57.529063165504006</c:v>
                </c:pt>
                <c:pt idx="73">
                  <c:v>57.799587676542629</c:v>
                </c:pt>
                <c:pt idx="74">
                  <c:v>58.067095378857886</c:v>
                </c:pt>
                <c:pt idx="75">
                  <c:v>58.331662496745139</c:v>
                </c:pt>
                <c:pt idx="76">
                  <c:v>58.59306994445879</c:v>
                </c:pt>
                <c:pt idx="77">
                  <c:v>58.851854963741218</c:v>
                </c:pt>
                <c:pt idx="78">
                  <c:v>59.107617485282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2.581764579261431</c:v>
                </c:pt>
                <c:pt idx="32">
                  <c:v>43.147762951029939</c:v>
                </c:pt>
                <c:pt idx="33">
                  <c:v>43.696272179686645</c:v>
                </c:pt>
                <c:pt idx="34">
                  <c:v>44.22310477044303</c:v>
                </c:pt>
                <c:pt idx="35">
                  <c:v>44.737587641751865</c:v>
                </c:pt>
                <c:pt idx="36">
                  <c:v>45.252562342171657</c:v>
                </c:pt>
                <c:pt idx="37">
                  <c:v>45.770598258602689</c:v>
                </c:pt>
                <c:pt idx="38">
                  <c:v>46.291891879564105</c:v>
                </c:pt>
                <c:pt idx="39">
                  <c:v>46.81797930412467</c:v>
                </c:pt>
                <c:pt idx="40">
                  <c:v>47.348520852540169</c:v>
                </c:pt>
                <c:pt idx="41">
                  <c:v>47.882594455184552</c:v>
                </c:pt>
                <c:pt idx="42">
                  <c:v>48.427848535511551</c:v>
                </c:pt>
                <c:pt idx="43">
                  <c:v>48.984222937542469</c:v>
                </c:pt>
                <c:pt idx="44">
                  <c:v>49.552597094127321</c:v>
                </c:pt>
                <c:pt idx="45">
                  <c:v>50.131328665714236</c:v>
                </c:pt>
                <c:pt idx="46">
                  <c:v>50.719747619895315</c:v>
                </c:pt>
                <c:pt idx="47">
                  <c:v>51.319001012920609</c:v>
                </c:pt>
                <c:pt idx="48">
                  <c:v>51.929848985496299</c:v>
                </c:pt>
                <c:pt idx="49">
                  <c:v>52.553490188064835</c:v>
                </c:pt>
                <c:pt idx="50">
                  <c:v>53.190581109004384</c:v>
                </c:pt>
                <c:pt idx="51">
                  <c:v>53.840388296997325</c:v>
                </c:pt>
                <c:pt idx="52">
                  <c:v>54.502670115723177</c:v>
                </c:pt>
                <c:pt idx="53">
                  <c:v>55.178411939771436</c:v>
                </c:pt>
                <c:pt idx="54">
                  <c:v>55.868175938458648</c:v>
                </c:pt>
                <c:pt idx="55">
                  <c:v>56.571877484246023</c:v>
                </c:pt>
                <c:pt idx="56">
                  <c:v>57.289523138610178</c:v>
                </c:pt>
                <c:pt idx="57">
                  <c:v>58.021748213274222</c:v>
                </c:pt>
                <c:pt idx="58">
                  <c:v>58.768641659314156</c:v>
                </c:pt>
                <c:pt idx="59">
                  <c:v>59.530216361820905</c:v>
                </c:pt>
                <c:pt idx="60">
                  <c:v>60.307465597701878</c:v>
                </c:pt>
                <c:pt idx="61">
                  <c:v>61.099957541114833</c:v>
                </c:pt>
                <c:pt idx="62">
                  <c:v>61.908408469810567</c:v>
                </c:pt>
                <c:pt idx="63">
                  <c:v>62.732825741750879</c:v>
                </c:pt>
                <c:pt idx="64">
                  <c:v>63.573635675157753</c:v>
                </c:pt>
                <c:pt idx="65">
                  <c:v>64.431069628712734</c:v>
                </c:pt>
                <c:pt idx="66">
                  <c:v>65.305655174940384</c:v>
                </c:pt>
                <c:pt idx="67">
                  <c:v>66.197382479405746</c:v>
                </c:pt>
                <c:pt idx="68">
                  <c:v>67.10671296108471</c:v>
                </c:pt>
                <c:pt idx="69">
                  <c:v>68.033603964607863</c:v>
                </c:pt>
                <c:pt idx="70">
                  <c:v>68.97875341148729</c:v>
                </c:pt>
                <c:pt idx="71">
                  <c:v>69.942466986470066</c:v>
                </c:pt>
                <c:pt idx="72">
                  <c:v>70.924746520128124</c:v>
                </c:pt>
                <c:pt idx="73">
                  <c:v>71.926286955530145</c:v>
                </c:pt>
                <c:pt idx="74">
                  <c:v>72.947439157823894</c:v>
                </c:pt>
                <c:pt idx="75">
                  <c:v>73.988178158532207</c:v>
                </c:pt>
                <c:pt idx="76">
                  <c:v>75.048968457303971</c:v>
                </c:pt>
                <c:pt idx="77">
                  <c:v>76.130358666968021</c:v>
                </c:pt>
                <c:pt idx="78">
                  <c:v>77.232660189270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9</c:v>
                </c:pt>
                <c:pt idx="3">
                  <c:v>12</c:v>
                </c:pt>
                <c:pt idx="4">
                  <c:v>13</c:v>
                </c:pt>
                <c:pt idx="5">
                  <c:v>13</c:v>
                </c:pt>
                <c:pt idx="6">
                  <c:v>15</c:v>
                </c:pt>
                <c:pt idx="7">
                  <c:v>17</c:v>
                </c:pt>
                <c:pt idx="8">
                  <c:v>20</c:v>
                </c:pt>
                <c:pt idx="9">
                  <c:v>22</c:v>
                </c:pt>
                <c:pt idx="10">
                  <c:v>26</c:v>
                </c:pt>
                <c:pt idx="11">
                  <c:v>26</c:v>
                </c:pt>
                <c:pt idx="12">
                  <c:v>30</c:v>
                </c:pt>
                <c:pt idx="13">
                  <c:v>31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5</c:v>
                </c:pt>
                <c:pt idx="18">
                  <c:v>39</c:v>
                </c:pt>
                <c:pt idx="19">
                  <c:v>40</c:v>
                </c:pt>
                <c:pt idx="20">
                  <c:v>43</c:v>
                </c:pt>
                <c:pt idx="21">
                  <c:v>44</c:v>
                </c:pt>
                <c:pt idx="22">
                  <c:v>45</c:v>
                </c:pt>
                <c:pt idx="23">
                  <c:v>45</c:v>
                </c:pt>
                <c:pt idx="24">
                  <c:v>47</c:v>
                </c:pt>
                <c:pt idx="25">
                  <c:v>49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1</c:v>
                </c:pt>
                <c:pt idx="32">
                  <c:v>52</c:v>
                </c:pt>
                <c:pt idx="33">
                  <c:v>52</c:v>
                </c:pt>
                <c:pt idx="34">
                  <c:v>52</c:v>
                </c:pt>
                <c:pt idx="35">
                  <c:v>52</c:v>
                </c:pt>
                <c:pt idx="36">
                  <c:v>52</c:v>
                </c:pt>
                <c:pt idx="37">
                  <c:v>52</c:v>
                </c:pt>
                <c:pt idx="38">
                  <c:v>54</c:v>
                </c:pt>
                <c:pt idx="39">
                  <c:v>54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6</c:v>
                </c:pt>
                <c:pt idx="49">
                  <c:v>56</c:v>
                </c:pt>
                <c:pt idx="50">
                  <c:v>56</c:v>
                </c:pt>
                <c:pt idx="51">
                  <c:v>56</c:v>
                </c:pt>
                <c:pt idx="52">
                  <c:v>56</c:v>
                </c:pt>
                <c:pt idx="53">
                  <c:v>56</c:v>
                </c:pt>
                <c:pt idx="54">
                  <c:v>5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.667420755074012</c:v>
                </c:pt>
                <c:pt idx="32">
                  <c:v>51.293385114940946</c:v>
                </c:pt>
                <c:pt idx="33">
                  <c:v>51.880870728723707</c:v>
                </c:pt>
                <c:pt idx="34">
                  <c:v>52.427558365841172</c:v>
                </c:pt>
                <c:pt idx="35">
                  <c:v>52.939389612304709</c:v>
                </c:pt>
                <c:pt idx="36">
                  <c:v>53.427332591159036</c:v>
                </c:pt>
                <c:pt idx="37">
                  <c:v>53.889486765851515</c:v>
                </c:pt>
                <c:pt idx="38">
                  <c:v>54.32368506271937</c:v>
                </c:pt>
                <c:pt idx="39">
                  <c:v>54.734881150876916</c:v>
                </c:pt>
                <c:pt idx="40">
                  <c:v>55.123979108418865</c:v>
                </c:pt>
                <c:pt idx="41">
                  <c:v>55.488982601216051</c:v>
                </c:pt>
                <c:pt idx="42">
                  <c:v>55.836551546179358</c:v>
                </c:pt>
                <c:pt idx="43">
                  <c:v>56.165611282495121</c:v>
                </c:pt>
                <c:pt idx="44">
                  <c:v>56.478646092630008</c:v>
                </c:pt>
                <c:pt idx="45">
                  <c:v>56.774661711753893</c:v>
                </c:pt>
                <c:pt idx="46">
                  <c:v>57.054701100763268</c:v>
                </c:pt>
                <c:pt idx="47">
                  <c:v>57.31949928480919</c:v>
                </c:pt>
                <c:pt idx="48">
                  <c:v>57.569784501470906</c:v>
                </c:pt>
                <c:pt idx="49">
                  <c:v>57.807471520128423</c:v>
                </c:pt>
                <c:pt idx="50">
                  <c:v>58.033734724840301</c:v>
                </c:pt>
                <c:pt idx="51">
                  <c:v>58.248689251611829</c:v>
                </c:pt>
                <c:pt idx="52">
                  <c:v>58.452947560395806</c:v>
                </c:pt>
                <c:pt idx="53">
                  <c:v>58.647233565053732</c:v>
                </c:pt>
                <c:pt idx="54">
                  <c:v>58.832017283963125</c:v>
                </c:pt>
                <c:pt idx="55">
                  <c:v>59.00785763529182</c:v>
                </c:pt>
                <c:pt idx="56">
                  <c:v>59.175288948563271</c:v>
                </c:pt>
                <c:pt idx="57">
                  <c:v>59.335056352799597</c:v>
                </c:pt>
                <c:pt idx="58">
                  <c:v>59.487503507256989</c:v>
                </c:pt>
                <c:pt idx="59">
                  <c:v>59.633370021006662</c:v>
                </c:pt>
                <c:pt idx="60">
                  <c:v>59.772788637288592</c:v>
                </c:pt>
                <c:pt idx="61">
                  <c:v>59.906084808200312</c:v>
                </c:pt>
                <c:pt idx="62">
                  <c:v>60.033638349649173</c:v>
                </c:pt>
                <c:pt idx="63">
                  <c:v>60.156053359354082</c:v>
                </c:pt>
                <c:pt idx="64">
                  <c:v>60.273325902238852</c:v>
                </c:pt>
                <c:pt idx="65">
                  <c:v>60.386004368141698</c:v>
                </c:pt>
                <c:pt idx="66">
                  <c:v>60.494349788753141</c:v>
                </c:pt>
                <c:pt idx="67">
                  <c:v>60.598946305569342</c:v>
                </c:pt>
                <c:pt idx="68">
                  <c:v>60.699435703974913</c:v>
                </c:pt>
                <c:pt idx="69">
                  <c:v>60.79656616818567</c:v>
                </c:pt>
                <c:pt idx="70">
                  <c:v>60.89026630236674</c:v>
                </c:pt>
                <c:pt idx="71">
                  <c:v>60.980673271056276</c:v>
                </c:pt>
                <c:pt idx="72">
                  <c:v>61.06823779977568</c:v>
                </c:pt>
                <c:pt idx="73">
                  <c:v>61.152853370084273</c:v>
                </c:pt>
                <c:pt idx="74">
                  <c:v>61.23523421073439</c:v>
                </c:pt>
                <c:pt idx="75">
                  <c:v>61.315007302836179</c:v>
                </c:pt>
                <c:pt idx="76">
                  <c:v>61.392513814404197</c:v>
                </c:pt>
                <c:pt idx="77">
                  <c:v>61.467542468457516</c:v>
                </c:pt>
                <c:pt idx="78">
                  <c:v>61.54078356648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.679872734178055</c:v>
                </c:pt>
                <c:pt idx="32">
                  <c:v>51.328906805484003</c:v>
                </c:pt>
                <c:pt idx="33">
                  <c:v>51.948453676193907</c:v>
                </c:pt>
                <c:pt idx="34">
                  <c:v>52.535058813854072</c:v>
                </c:pt>
                <c:pt idx="35">
                  <c:v>53.095908282931461</c:v>
                </c:pt>
                <c:pt idx="36">
                  <c:v>53.643873600112187</c:v>
                </c:pt>
                <c:pt idx="37">
                  <c:v>54.179228995822314</c:v>
                </c:pt>
                <c:pt idx="38">
                  <c:v>54.700157389317347</c:v>
                </c:pt>
                <c:pt idx="39">
                  <c:v>55.210268736001332</c:v>
                </c:pt>
                <c:pt idx="40">
                  <c:v>55.70989701534193</c:v>
                </c:pt>
                <c:pt idx="41">
                  <c:v>56.196448928201306</c:v>
                </c:pt>
                <c:pt idx="42">
                  <c:v>56.6770131401246</c:v>
                </c:pt>
                <c:pt idx="43">
                  <c:v>57.150517445526575</c:v>
                </c:pt>
                <c:pt idx="44">
                  <c:v>57.618477538834973</c:v>
                </c:pt>
                <c:pt idx="45">
                  <c:v>58.079047148690236</c:v>
                </c:pt>
                <c:pt idx="46">
                  <c:v>58.531952414979806</c:v>
                </c:pt>
                <c:pt idx="47">
                  <c:v>58.977458909627714</c:v>
                </c:pt>
                <c:pt idx="48">
                  <c:v>59.416091006690166</c:v>
                </c:pt>
                <c:pt idx="49">
                  <c:v>59.84876537364616</c:v>
                </c:pt>
                <c:pt idx="50">
                  <c:v>60.276098427355265</c:v>
                </c:pt>
                <c:pt idx="51">
                  <c:v>60.698050802028632</c:v>
                </c:pt>
                <c:pt idx="52">
                  <c:v>61.114156949627514</c:v>
                </c:pt>
                <c:pt idx="53">
                  <c:v>61.524556905533977</c:v>
                </c:pt>
                <c:pt idx="54">
                  <c:v>61.929634678871849</c:v>
                </c:pt>
                <c:pt idx="55">
                  <c:v>62.329332482416611</c:v>
                </c:pt>
                <c:pt idx="56">
                  <c:v>62.72380188976129</c:v>
                </c:pt>
                <c:pt idx="57">
                  <c:v>63.113170450368379</c:v>
                </c:pt>
                <c:pt idx="58">
                  <c:v>63.497721717589002</c:v>
                </c:pt>
                <c:pt idx="59">
                  <c:v>63.877279479603118</c:v>
                </c:pt>
                <c:pt idx="60">
                  <c:v>64.252240518106589</c:v>
                </c:pt>
                <c:pt idx="61">
                  <c:v>64.622465560605647</c:v>
                </c:pt>
                <c:pt idx="62">
                  <c:v>64.988081077184162</c:v>
                </c:pt>
                <c:pt idx="63">
                  <c:v>65.349135838326461</c:v>
                </c:pt>
                <c:pt idx="64">
                  <c:v>65.705683439256234</c:v>
                </c:pt>
                <c:pt idx="65">
                  <c:v>66.0581152067613</c:v>
                </c:pt>
                <c:pt idx="66">
                  <c:v>66.406245113606502</c:v>
                </c:pt>
                <c:pt idx="67">
                  <c:v>66.750081828698342</c:v>
                </c:pt>
                <c:pt idx="68">
                  <c:v>67.090002577135692</c:v>
                </c:pt>
                <c:pt idx="69">
                  <c:v>67.425799273956784</c:v>
                </c:pt>
                <c:pt idx="70">
                  <c:v>67.757813069352054</c:v>
                </c:pt>
                <c:pt idx="71">
                  <c:v>68.085835526781878</c:v>
                </c:pt>
                <c:pt idx="72">
                  <c:v>68.410190708732614</c:v>
                </c:pt>
                <c:pt idx="73">
                  <c:v>68.730637276659962</c:v>
                </c:pt>
                <c:pt idx="74">
                  <c:v>69.047509683148405</c:v>
                </c:pt>
                <c:pt idx="75">
                  <c:v>69.360900196810718</c:v>
                </c:pt>
                <c:pt idx="76">
                  <c:v>69.670547557829224</c:v>
                </c:pt>
                <c:pt idx="77">
                  <c:v>69.977089642526806</c:v>
                </c:pt>
                <c:pt idx="78">
                  <c:v>70.280052490992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.692324713281913</c:v>
                </c:pt>
                <c:pt idx="32">
                  <c:v>51.364774384335192</c:v>
                </c:pt>
                <c:pt idx="33">
                  <c:v>52.016504504827324</c:v>
                </c:pt>
                <c:pt idx="34">
                  <c:v>52.642783551369668</c:v>
                </c:pt>
                <c:pt idx="35">
                  <c:v>53.254010953857133</c:v>
                </c:pt>
                <c:pt idx="36">
                  <c:v>53.865594616555889</c:v>
                </c:pt>
                <c:pt idx="37">
                  <c:v>54.480840218013846</c:v>
                </c:pt>
                <c:pt idx="38">
                  <c:v>55.099602891137508</c:v>
                </c:pt>
                <c:pt idx="39">
                  <c:v>55.723580301108967</c:v>
                </c:pt>
                <c:pt idx="40">
                  <c:v>56.352796709638199</c:v>
                </c:pt>
                <c:pt idx="41">
                  <c:v>56.986207936391487</c:v>
                </c:pt>
                <c:pt idx="42">
                  <c:v>57.63264621792279</c:v>
                </c:pt>
                <c:pt idx="43">
                  <c:v>58.292302889032435</c:v>
                </c:pt>
                <c:pt idx="44">
                  <c:v>58.966038844268624</c:v>
                </c:pt>
                <c:pt idx="45">
                  <c:v>59.652088008714223</c:v>
                </c:pt>
                <c:pt idx="46">
                  <c:v>60.349503238179608</c:v>
                </c:pt>
                <c:pt idx="47">
                  <c:v>61.059804701664376</c:v>
                </c:pt>
                <c:pt idx="48">
                  <c:v>61.783898346517574</c:v>
                </c:pt>
                <c:pt idx="49">
                  <c:v>62.523061988583223</c:v>
                </c:pt>
                <c:pt idx="50">
                  <c:v>63.278188966552321</c:v>
                </c:pt>
                <c:pt idx="51">
                  <c:v>64.048424244779255</c:v>
                </c:pt>
                <c:pt idx="52">
                  <c:v>64.833396540012373</c:v>
                </c:pt>
                <c:pt idx="53">
                  <c:v>65.634273056146498</c:v>
                </c:pt>
                <c:pt idx="54">
                  <c:v>66.451788318405633</c:v>
                </c:pt>
                <c:pt idx="55">
                  <c:v>67.285843212121648</c:v>
                </c:pt>
                <c:pt idx="56">
                  <c:v>68.136370638509348</c:v>
                </c:pt>
                <c:pt idx="57">
                  <c:v>69.004174182640895</c:v>
                </c:pt>
                <c:pt idx="58">
                  <c:v>69.889408148213633</c:v>
                </c:pt>
                <c:pt idx="59">
                  <c:v>70.792034038284783</c:v>
                </c:pt>
                <c:pt idx="60">
                  <c:v>71.713224760512617</c:v>
                </c:pt>
                <c:pt idx="61">
                  <c:v>72.652484759575756</c:v>
                </c:pt>
                <c:pt idx="62">
                  <c:v>73.610654988858499</c:v>
                </c:pt>
                <c:pt idx="63">
                  <c:v>74.587746623569174</c:v>
                </c:pt>
                <c:pt idx="64">
                  <c:v>75.584266036218821</c:v>
                </c:pt>
                <c:pt idx="65">
                  <c:v>76.600489721068072</c:v>
                </c:pt>
                <c:pt idx="66">
                  <c:v>77.637043070878988</c:v>
                </c:pt>
                <c:pt idx="67">
                  <c:v>78.693911556862901</c:v>
                </c:pt>
                <c:pt idx="68">
                  <c:v>79.771640921591256</c:v>
                </c:pt>
                <c:pt idx="69">
                  <c:v>80.870180060557544</c:v>
                </c:pt>
                <c:pt idx="70">
                  <c:v>81.990358719189018</c:v>
                </c:pt>
                <c:pt idx="71">
                  <c:v>83.132539914747241</c:v>
                </c:pt>
                <c:pt idx="72">
                  <c:v>84.296721694563047</c:v>
                </c:pt>
                <c:pt idx="73">
                  <c:v>85.483730818356463</c:v>
                </c:pt>
                <c:pt idx="74">
                  <c:v>86.693983542982096</c:v>
                </c:pt>
                <c:pt idx="75">
                  <c:v>87.927449242640336</c:v>
                </c:pt>
                <c:pt idx="76">
                  <c:v>89.18467706922155</c:v>
                </c:pt>
                <c:pt idx="77">
                  <c:v>90.466320978559196</c:v>
                </c:pt>
                <c:pt idx="78">
                  <c:v>91.772749473524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5</c:v>
                </c:pt>
                <c:pt idx="1">
                  <c:v>45</c:v>
                </c:pt>
                <c:pt idx="2">
                  <c:v>46</c:v>
                </c:pt>
                <c:pt idx="3">
                  <c:v>42</c:v>
                </c:pt>
                <c:pt idx="4">
                  <c:v>40</c:v>
                </c:pt>
                <c:pt idx="5">
                  <c:v>38</c:v>
                </c:pt>
                <c:pt idx="6">
                  <c:v>36</c:v>
                </c:pt>
                <c:pt idx="7">
                  <c:v>35</c:v>
                </c:pt>
                <c:pt idx="8">
                  <c:v>33</c:v>
                </c:pt>
                <c:pt idx="9">
                  <c:v>30</c:v>
                </c:pt>
                <c:pt idx="10">
                  <c:v>27</c:v>
                </c:pt>
                <c:pt idx="11">
                  <c:v>27</c:v>
                </c:pt>
                <c:pt idx="12">
                  <c:v>25</c:v>
                </c:pt>
                <c:pt idx="13">
                  <c:v>25</c:v>
                </c:pt>
                <c:pt idx="14">
                  <c:v>20</c:v>
                </c:pt>
                <c:pt idx="15">
                  <c:v>21</c:v>
                </c:pt>
                <c:pt idx="16">
                  <c:v>23</c:v>
                </c:pt>
                <c:pt idx="17">
                  <c:v>19</c:v>
                </c:pt>
                <c:pt idx="18">
                  <c:v>19</c:v>
                </c:pt>
                <c:pt idx="19">
                  <c:v>12</c:v>
                </c:pt>
                <c:pt idx="20">
                  <c:v>11</c:v>
                </c:pt>
                <c:pt idx="21">
                  <c:v>11</c:v>
                </c:pt>
                <c:pt idx="22">
                  <c:v>13</c:v>
                </c:pt>
                <c:pt idx="23">
                  <c:v>13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8</c:v>
                </c:pt>
                <c:pt idx="30">
                  <c:v>8</c:v>
                </c:pt>
                <c:pt idx="31">
                  <c:v>7</c:v>
                </c:pt>
                <c:pt idx="32">
                  <c:v>6</c:v>
                </c:pt>
                <c:pt idx="33">
                  <c:v>5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2</c:v>
                </c:pt>
                <c:pt idx="39">
                  <c:v>4</c:v>
                </c:pt>
                <c:pt idx="40">
                  <c:v>4</c:v>
                </c:pt>
                <c:pt idx="41">
                  <c:v>2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.5526352844618447</c:v>
                </c:pt>
                <c:pt idx="32">
                  <c:v>6.0378920312662654</c:v>
                </c:pt>
                <c:pt idx="33">
                  <c:v>5.5605749548786569</c:v>
                </c:pt>
                <c:pt idx="34">
                  <c:v>5.0987510374086327</c:v>
                </c:pt>
                <c:pt idx="35">
                  <c:v>4.667897320578037</c:v>
                </c:pt>
                <c:pt idx="36">
                  <c:v>4.2761039879819895</c:v>
                </c:pt>
                <c:pt idx="37">
                  <c:v>3.9096120939319112</c:v>
                </c:pt>
                <c:pt idx="38">
                  <c:v>3.5654607650606338</c:v>
                </c:pt>
                <c:pt idx="39">
                  <c:v>3.2447110028749169</c:v>
                </c:pt>
                <c:pt idx="40">
                  <c:v>2.9416902603314607</c:v>
                </c:pt>
                <c:pt idx="41">
                  <c:v>2.6514860753162948</c:v>
                </c:pt>
                <c:pt idx="42">
                  <c:v>2.383168984275911</c:v>
                </c:pt>
                <c:pt idx="43">
                  <c:v>2.1400655209771671</c:v>
                </c:pt>
                <c:pt idx="44">
                  <c:v>1.9019216913850523</c:v>
                </c:pt>
                <c:pt idx="45">
                  <c:v>1.6811992293188927</c:v>
                </c:pt>
                <c:pt idx="46">
                  <c:v>1.4768267209533881</c:v>
                </c:pt>
                <c:pt idx="47">
                  <c:v>1.2731256060999878</c:v>
                </c:pt>
                <c:pt idx="48">
                  <c:v>1.0904912928995283</c:v>
                </c:pt>
                <c:pt idx="49">
                  <c:v>0.91618934734226953</c:v>
                </c:pt>
                <c:pt idx="50">
                  <c:v>0.74455659183399225</c:v>
                </c:pt>
                <c:pt idx="51">
                  <c:v>0.59102724565178533</c:v>
                </c:pt>
                <c:pt idx="52">
                  <c:v>0.43883464129618455</c:v>
                </c:pt>
                <c:pt idx="53">
                  <c:v>0.29695524241570048</c:v>
                </c:pt>
                <c:pt idx="54">
                  <c:v>0.1630366712835562</c:v>
                </c:pt>
                <c:pt idx="55">
                  <c:v>3.411995384320246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.5609404523173245</c:v>
                </c:pt>
                <c:pt idx="32">
                  <c:v>6.061008424659228</c:v>
                </c:pt>
                <c:pt idx="33">
                  <c:v>5.603548861760232</c:v>
                </c:pt>
                <c:pt idx="34">
                  <c:v>5.1654974835566296</c:v>
                </c:pt>
                <c:pt idx="35">
                  <c:v>4.7628802291483856</c:v>
                </c:pt>
                <c:pt idx="36">
                  <c:v>4.404762982376254</c:v>
                </c:pt>
                <c:pt idx="37">
                  <c:v>4.0784794116401804</c:v>
                </c:pt>
                <c:pt idx="38">
                  <c:v>3.7808060642558887</c:v>
                </c:pt>
                <c:pt idx="39">
                  <c:v>3.5113812683928129</c:v>
                </c:pt>
                <c:pt idx="40">
                  <c:v>3.2637824002585827</c:v>
                </c:pt>
                <c:pt idx="41">
                  <c:v>3.0323312064873926</c:v>
                </c:pt>
                <c:pt idx="42">
                  <c:v>2.8260212892708392</c:v>
                </c:pt>
                <c:pt idx="43">
                  <c:v>2.6478439380925387</c:v>
                </c:pt>
                <c:pt idx="44">
                  <c:v>2.4765815636988933</c:v>
                </c:pt>
                <c:pt idx="45">
                  <c:v>2.3238682636104855</c:v>
                </c:pt>
                <c:pt idx="46">
                  <c:v>2.1875101625946067</c:v>
                </c:pt>
                <c:pt idx="47">
                  <c:v>2.05139850157832</c:v>
                </c:pt>
                <c:pt idx="48">
                  <c:v>1.9357044450577068</c:v>
                </c:pt>
                <c:pt idx="49">
                  <c:v>1.8269842967435377</c:v>
                </c:pt>
                <c:pt idx="50">
                  <c:v>1.7191922319549202</c:v>
                </c:pt>
                <c:pt idx="51">
                  <c:v>1.6277088285284722</c:v>
                </c:pt>
                <c:pt idx="52">
                  <c:v>1.5350837973831943</c:v>
                </c:pt>
                <c:pt idx="53">
                  <c:v>1.4500559464226437</c:v>
                </c:pt>
                <c:pt idx="54">
                  <c:v>1.3703813134701095</c:v>
                </c:pt>
                <c:pt idx="55">
                  <c:v>1.2928381955435067</c:v>
                </c:pt>
                <c:pt idx="56">
                  <c:v>1.2256971027852299</c:v>
                </c:pt>
                <c:pt idx="57">
                  <c:v>1.1566705273096964</c:v>
                </c:pt>
                <c:pt idx="58">
                  <c:v>1.0937106081779358</c:v>
                </c:pt>
                <c:pt idx="59">
                  <c:v>1.0317099758383432</c:v>
                </c:pt>
                <c:pt idx="60">
                  <c:v>0.97486298649915049</c:v>
                </c:pt>
                <c:pt idx="61">
                  <c:v>0.91996068519925689</c:v>
                </c:pt>
                <c:pt idx="62">
                  <c:v>0.86562550081364265</c:v>
                </c:pt>
                <c:pt idx="63">
                  <c:v>0.81417447160310874</c:v>
                </c:pt>
                <c:pt idx="64">
                  <c:v>0.76274284896496169</c:v>
                </c:pt>
                <c:pt idx="65">
                  <c:v>0.71495927706115037</c:v>
                </c:pt>
                <c:pt idx="66">
                  <c:v>0.66842515574737427</c:v>
                </c:pt>
                <c:pt idx="67">
                  <c:v>0.62390732631740109</c:v>
                </c:pt>
                <c:pt idx="68">
                  <c:v>0.58144192150975693</c:v>
                </c:pt>
                <c:pt idx="69">
                  <c:v>0.53966281513581382</c:v>
                </c:pt>
                <c:pt idx="70">
                  <c:v>0.49924907041609307</c:v>
                </c:pt>
                <c:pt idx="71">
                  <c:v>0.4599805149860749</c:v>
                </c:pt>
                <c:pt idx="72">
                  <c:v>0.4219663724800744</c:v>
                </c:pt>
                <c:pt idx="73">
                  <c:v>0.38528551628514285</c:v>
                </c:pt>
                <c:pt idx="74">
                  <c:v>0.34879281093531517</c:v>
                </c:pt>
                <c:pt idx="75">
                  <c:v>0.31583786450501267</c:v>
                </c:pt>
                <c:pt idx="76">
                  <c:v>0.28148814981932219</c:v>
                </c:pt>
                <c:pt idx="77">
                  <c:v>0.25006408901879307</c:v>
                </c:pt>
                <c:pt idx="78">
                  <c:v>0.21881345057784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.569245620172806</c:v>
                </c:pt>
                <c:pt idx="32">
                  <c:v>6.0843555171592865</c:v>
                </c:pt>
                <c:pt idx="33">
                  <c:v>5.6468188420198571</c:v>
                </c:pt>
                <c:pt idx="34">
                  <c:v>5.2323591167286372</c:v>
                </c:pt>
                <c:pt idx="35">
                  <c:v>4.8588776144378398</c:v>
                </c:pt>
                <c:pt idx="36">
                  <c:v>4.5367629187249943</c:v>
                </c:pt>
                <c:pt idx="37">
                  <c:v>4.2549265613097971</c:v>
                </c:pt>
                <c:pt idx="38">
                  <c:v>4.0106330667456804</c:v>
                </c:pt>
                <c:pt idx="39">
                  <c:v>3.8015363413378558</c:v>
                </c:pt>
                <c:pt idx="40">
                  <c:v>3.6205011479213214</c:v>
                </c:pt>
                <c:pt idx="41">
                  <c:v>3.4623686008035381</c:v>
                </c:pt>
                <c:pt idx="42">
                  <c:v>3.3366921606831084</c:v>
                </c:pt>
                <c:pt idx="43">
                  <c:v>3.2466850923559782</c:v>
                </c:pt>
                <c:pt idx="44">
                  <c:v>3.170048764873084</c:v>
                </c:pt>
                <c:pt idx="45">
                  <c:v>3.1178773831248883</c:v>
                </c:pt>
                <c:pt idx="46">
                  <c:v>3.0869160773823299</c:v>
                </c:pt>
                <c:pt idx="47">
                  <c:v>3.0614130072383787</c:v>
                </c:pt>
                <c:pt idx="48">
                  <c:v>3.0612678325139351</c:v>
                </c:pt>
                <c:pt idx="49">
                  <c:v>3.0727878394772068</c:v>
                </c:pt>
                <c:pt idx="50">
                  <c:v>3.0896114972370814</c:v>
                </c:pt>
                <c:pt idx="51">
                  <c:v>3.1261275852458503</c:v>
                </c:pt>
                <c:pt idx="52">
                  <c:v>3.1645382560878783</c:v>
                </c:pt>
                <c:pt idx="53">
                  <c:v>3.2139301375623521</c:v>
                </c:pt>
                <c:pt idx="54">
                  <c:v>3.2719410494110535</c:v>
                </c:pt>
                <c:pt idx="55">
                  <c:v>3.33496215895748</c:v>
                </c:pt>
                <c:pt idx="56">
                  <c:v>3.410796060871141</c:v>
                </c:pt>
                <c:pt idx="57">
                  <c:v>3.4873182935699001</c:v>
                </c:pt>
                <c:pt idx="58">
                  <c:v>3.5721305521656839</c:v>
                </c:pt>
                <c:pt idx="59">
                  <c:v>3.6599955683129997</c:v>
                </c:pt>
                <c:pt idx="60">
                  <c:v>3.7554045435786843</c:v>
                </c:pt>
                <c:pt idx="61">
                  <c:v>3.8546599048047052</c:v>
                </c:pt>
                <c:pt idx="62">
                  <c:v>3.9566661152072342</c:v>
                </c:pt>
                <c:pt idx="63">
                  <c:v>4.0635142154135693</c:v>
                </c:pt>
                <c:pt idx="64">
                  <c:v>4.1724415482608697</c:v>
                </c:pt>
                <c:pt idx="65">
                  <c:v>4.2868060928639071</c:v>
                </c:pt>
                <c:pt idx="66">
                  <c:v>4.4045933142101452</c:v>
                </c:pt>
                <c:pt idx="67">
                  <c:v>4.5263628949628343</c:v>
                </c:pt>
                <c:pt idx="68">
                  <c:v>4.6520821245241306</c:v>
                </c:pt>
                <c:pt idx="69">
                  <c:v>4.7803123212748329</c:v>
                </c:pt>
                <c:pt idx="70">
                  <c:v>4.9118840559124965</c:v>
                </c:pt>
                <c:pt idx="71">
                  <c:v>5.0467885710841642</c:v>
                </c:pt>
                <c:pt idx="72">
                  <c:v>5.1847446936531263</c:v>
                </c:pt>
                <c:pt idx="73">
                  <c:v>5.3263887255305473</c:v>
                </c:pt>
                <c:pt idx="74">
                  <c:v>5.4704174176753231</c:v>
                </c:pt>
                <c:pt idx="75">
                  <c:v>5.619915836453595</c:v>
                </c:pt>
                <c:pt idx="76">
                  <c:v>5.7703237465681205</c:v>
                </c:pt>
                <c:pt idx="77">
                  <c:v>5.9257740715751055</c:v>
                </c:pt>
                <c:pt idx="78">
                  <c:v>6.0838995396675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5</c:v>
                </c:pt>
                <c:pt idx="3">
                  <c:v>24</c:v>
                </c:pt>
                <c:pt idx="4">
                  <c:v>30</c:v>
                </c:pt>
                <c:pt idx="5">
                  <c:v>34</c:v>
                </c:pt>
                <c:pt idx="6">
                  <c:v>39</c:v>
                </c:pt>
                <c:pt idx="7">
                  <c:v>42</c:v>
                </c:pt>
                <c:pt idx="8">
                  <c:v>50</c:v>
                </c:pt>
                <c:pt idx="9">
                  <c:v>54</c:v>
                </c:pt>
                <c:pt idx="10">
                  <c:v>59</c:v>
                </c:pt>
                <c:pt idx="11">
                  <c:v>61</c:v>
                </c:pt>
                <c:pt idx="12">
                  <c:v>66</c:v>
                </c:pt>
                <c:pt idx="13">
                  <c:v>71</c:v>
                </c:pt>
                <c:pt idx="14">
                  <c:v>72</c:v>
                </c:pt>
                <c:pt idx="15">
                  <c:v>72</c:v>
                </c:pt>
                <c:pt idx="16">
                  <c:v>76</c:v>
                </c:pt>
                <c:pt idx="17">
                  <c:v>80</c:v>
                </c:pt>
                <c:pt idx="18">
                  <c:v>81</c:v>
                </c:pt>
                <c:pt idx="19">
                  <c:v>83</c:v>
                </c:pt>
                <c:pt idx="20">
                  <c:v>84</c:v>
                </c:pt>
                <c:pt idx="21">
                  <c:v>87</c:v>
                </c:pt>
                <c:pt idx="22">
                  <c:v>88</c:v>
                </c:pt>
                <c:pt idx="23">
                  <c:v>90</c:v>
                </c:pt>
                <c:pt idx="24">
                  <c:v>90</c:v>
                </c:pt>
                <c:pt idx="25">
                  <c:v>92</c:v>
                </c:pt>
                <c:pt idx="26">
                  <c:v>93</c:v>
                </c:pt>
                <c:pt idx="27">
                  <c:v>94</c:v>
                </c:pt>
                <c:pt idx="28">
                  <c:v>95</c:v>
                </c:pt>
                <c:pt idx="29">
                  <c:v>96</c:v>
                </c:pt>
                <c:pt idx="30">
                  <c:v>96</c:v>
                </c:pt>
                <c:pt idx="31">
                  <c:v>96</c:v>
                </c:pt>
                <c:pt idx="32">
                  <c:v>99</c:v>
                </c:pt>
                <c:pt idx="33">
                  <c:v>100</c:v>
                </c:pt>
                <c:pt idx="34">
                  <c:v>102</c:v>
                </c:pt>
                <c:pt idx="35">
                  <c:v>102</c:v>
                </c:pt>
                <c:pt idx="36">
                  <c:v>102</c:v>
                </c:pt>
                <c:pt idx="37">
                  <c:v>102</c:v>
                </c:pt>
                <c:pt idx="38">
                  <c:v>102</c:v>
                </c:pt>
                <c:pt idx="39">
                  <c:v>102</c:v>
                </c:pt>
                <c:pt idx="40">
                  <c:v>102</c:v>
                </c:pt>
                <c:pt idx="41">
                  <c:v>102</c:v>
                </c:pt>
                <c:pt idx="42">
                  <c:v>103</c:v>
                </c:pt>
                <c:pt idx="43">
                  <c:v>103</c:v>
                </c:pt>
                <c:pt idx="44">
                  <c:v>104</c:v>
                </c:pt>
                <c:pt idx="45">
                  <c:v>104</c:v>
                </c:pt>
                <c:pt idx="46">
                  <c:v>105</c:v>
                </c:pt>
                <c:pt idx="47">
                  <c:v>105</c:v>
                </c:pt>
                <c:pt idx="48">
                  <c:v>105</c:v>
                </c:pt>
                <c:pt idx="49">
                  <c:v>105</c:v>
                </c:pt>
                <c:pt idx="50">
                  <c:v>106</c:v>
                </c:pt>
                <c:pt idx="51">
                  <c:v>106</c:v>
                </c:pt>
                <c:pt idx="52">
                  <c:v>106</c:v>
                </c:pt>
                <c:pt idx="53">
                  <c:v>106</c:v>
                </c:pt>
                <c:pt idx="54">
                  <c:v>106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5.874546734747597</c:v>
                </c:pt>
                <c:pt idx="32">
                  <c:v>96.692089460769608</c:v>
                </c:pt>
                <c:pt idx="33">
                  <c:v>97.459402778235884</c:v>
                </c:pt>
                <c:pt idx="34">
                  <c:v>98.173989414614482</c:v>
                </c:pt>
                <c:pt idx="35">
                  <c:v>98.842047296500496</c:v>
                </c:pt>
                <c:pt idx="36">
                  <c:v>99.478351455696497</c:v>
                </c:pt>
                <c:pt idx="37">
                  <c:v>100.08115824572349</c:v>
                </c:pt>
                <c:pt idx="38">
                  <c:v>100.64679872902536</c:v>
                </c:pt>
                <c:pt idx="39">
                  <c:v>101.18149367798408</c:v>
                </c:pt>
                <c:pt idx="40">
                  <c:v>101.68749922095913</c:v>
                </c:pt>
                <c:pt idx="41">
                  <c:v>102.16228320916616</c:v>
                </c:pt>
                <c:pt idx="42">
                  <c:v>102.61388652926243</c:v>
                </c:pt>
                <c:pt idx="43">
                  <c:v>103.04155706161245</c:v>
                </c:pt>
                <c:pt idx="44">
                  <c:v>103.44810360890716</c:v>
                </c:pt>
                <c:pt idx="45">
                  <c:v>103.83270800339199</c:v>
                </c:pt>
                <c:pt idx="46">
                  <c:v>104.1963190964175</c:v>
                </c:pt>
                <c:pt idx="47">
                  <c:v>104.54023290366936</c:v>
                </c:pt>
                <c:pt idx="48">
                  <c:v>104.86539192932976</c:v>
                </c:pt>
                <c:pt idx="49">
                  <c:v>105.17397691247824</c:v>
                </c:pt>
                <c:pt idx="50">
                  <c:v>105.46781546793896</c:v>
                </c:pt>
                <c:pt idx="51">
                  <c:v>105.74707761940459</c:v>
                </c:pt>
                <c:pt idx="52">
                  <c:v>106.01237737802242</c:v>
                </c:pt>
                <c:pt idx="53">
                  <c:v>106.26463433655181</c:v>
                </c:pt>
                <c:pt idx="54">
                  <c:v>106.50459945907626</c:v>
                </c:pt>
                <c:pt idx="55">
                  <c:v>106.73299786285955</c:v>
                </c:pt>
                <c:pt idx="56">
                  <c:v>106.95036358366988</c:v>
                </c:pt>
                <c:pt idx="57">
                  <c:v>107.15778799006995</c:v>
                </c:pt>
                <c:pt idx="58">
                  <c:v>107.35581132766171</c:v>
                </c:pt>
                <c:pt idx="59">
                  <c:v>107.54527389875906</c:v>
                </c:pt>
                <c:pt idx="60">
                  <c:v>107.7263295035935</c:v>
                </c:pt>
                <c:pt idx="61">
                  <c:v>107.89944735480796</c:v>
                </c:pt>
                <c:pt idx="62">
                  <c:v>108.06511208148653</c:v>
                </c:pt>
                <c:pt idx="63">
                  <c:v>108.22410904944954</c:v>
                </c:pt>
                <c:pt idx="64">
                  <c:v>108.37642879259502</c:v>
                </c:pt>
                <c:pt idx="65">
                  <c:v>108.52278290757474</c:v>
                </c:pt>
                <c:pt idx="66">
                  <c:v>108.66351589172776</c:v>
                </c:pt>
                <c:pt idx="67">
                  <c:v>108.79938813291143</c:v>
                </c:pt>
                <c:pt idx="68">
                  <c:v>108.92992536288433</c:v>
                </c:pt>
                <c:pt idx="69">
                  <c:v>109.05610373742313</c:v>
                </c:pt>
                <c:pt idx="70">
                  <c:v>109.17783388710541</c:v>
                </c:pt>
                <c:pt idx="71">
                  <c:v>109.29528406880694</c:v>
                </c:pt>
                <c:pt idx="72">
                  <c:v>109.40904463470976</c:v>
                </c:pt>
                <c:pt idx="73">
                  <c:v>109.51897341951288</c:v>
                </c:pt>
                <c:pt idx="74">
                  <c:v>109.62600554938656</c:v>
                </c:pt>
                <c:pt idx="75">
                  <c:v>109.72965023430746</c:v>
                </c:pt>
                <c:pt idx="76">
                  <c:v>109.83035047189421</c:v>
                </c:pt>
                <c:pt idx="77">
                  <c:v>109.92783271694408</c:v>
                </c:pt>
                <c:pt idx="78">
                  <c:v>110.02299691418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5.890881471696119</c:v>
                </c:pt>
                <c:pt idx="32">
                  <c:v>96.738746480172011</c:v>
                </c:pt>
                <c:pt idx="33">
                  <c:v>97.548173563252647</c:v>
                </c:pt>
                <c:pt idx="34">
                  <c:v>98.315195438260218</c:v>
                </c:pt>
                <c:pt idx="35">
                  <c:v>99.04763590830143</c:v>
                </c:pt>
                <c:pt idx="36">
                  <c:v>99.762701257253951</c:v>
                </c:pt>
                <c:pt idx="37">
                  <c:v>100.4614095164404</c:v>
                </c:pt>
                <c:pt idx="38">
                  <c:v>101.14053083458492</c:v>
                </c:pt>
                <c:pt idx="39">
                  <c:v>101.80450910236219</c:v>
                </c:pt>
                <c:pt idx="40">
                  <c:v>102.4548132967285</c:v>
                </c:pt>
                <c:pt idx="41">
                  <c:v>103.08815305290013</c:v>
                </c:pt>
                <c:pt idx="42">
                  <c:v>103.71317014483947</c:v>
                </c:pt>
                <c:pt idx="43">
                  <c:v>104.32909814015485</c:v>
                </c:pt>
                <c:pt idx="44">
                  <c:v>104.93749852987006</c:v>
                </c:pt>
                <c:pt idx="45">
                  <c:v>105.53641080441156</c:v>
                </c:pt>
                <c:pt idx="46">
                  <c:v>106.12509938562319</c:v>
                </c:pt>
                <c:pt idx="47">
                  <c:v>106.70426508892062</c:v>
                </c:pt>
                <c:pt idx="48">
                  <c:v>107.27459184706923</c:v>
                </c:pt>
                <c:pt idx="49">
                  <c:v>107.83695728186703</c:v>
                </c:pt>
                <c:pt idx="50">
                  <c:v>108.39244558091346</c:v>
                </c:pt>
                <c:pt idx="51">
                  <c:v>108.9410403689165</c:v>
                </c:pt>
                <c:pt idx="52">
                  <c:v>109.48194947009236</c:v>
                </c:pt>
                <c:pt idx="53">
                  <c:v>110.01533355714311</c:v>
                </c:pt>
                <c:pt idx="54">
                  <c:v>110.54184325769788</c:v>
                </c:pt>
                <c:pt idx="55">
                  <c:v>111.06141206870339</c:v>
                </c:pt>
                <c:pt idx="56">
                  <c:v>111.57407054633725</c:v>
                </c:pt>
                <c:pt idx="57">
                  <c:v>112.08009849220048</c:v>
                </c:pt>
                <c:pt idx="58">
                  <c:v>112.57996858939723</c:v>
                </c:pt>
                <c:pt idx="59">
                  <c:v>113.07333293334838</c:v>
                </c:pt>
                <c:pt idx="60">
                  <c:v>113.56068691233389</c:v>
                </c:pt>
                <c:pt idx="61">
                  <c:v>114.04189734941259</c:v>
                </c:pt>
                <c:pt idx="62">
                  <c:v>114.51711642166445</c:v>
                </c:pt>
                <c:pt idx="63">
                  <c:v>114.98640650077519</c:v>
                </c:pt>
                <c:pt idx="64">
                  <c:v>115.44983854343258</c:v>
                </c:pt>
                <c:pt idx="65">
                  <c:v>115.90792462032395</c:v>
                </c:pt>
                <c:pt idx="66">
                  <c:v>116.3604236055091</c:v>
                </c:pt>
                <c:pt idx="67">
                  <c:v>116.8073415327034</c:v>
                </c:pt>
                <c:pt idx="68">
                  <c:v>117.24917141935239</c:v>
                </c:pt>
                <c:pt idx="69">
                  <c:v>117.68564307603755</c:v>
                </c:pt>
                <c:pt idx="70">
                  <c:v>118.11719867076896</c:v>
                </c:pt>
                <c:pt idx="71">
                  <c:v>118.54356757891925</c:v>
                </c:pt>
                <c:pt idx="72">
                  <c:v>118.96517128811584</c:v>
                </c:pt>
                <c:pt idx="73">
                  <c:v>119.38169384323862</c:v>
                </c:pt>
                <c:pt idx="74">
                  <c:v>119.79356917974609</c:v>
                </c:pt>
                <c:pt idx="75">
                  <c:v>120.20092175103574</c:v>
                </c:pt>
                <c:pt idx="76">
                  <c:v>120.60340797965779</c:v>
                </c:pt>
                <c:pt idx="77">
                  <c:v>121.00186040185768</c:v>
                </c:pt>
                <c:pt idx="78">
                  <c:v>121.39566281242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5.907216208644442</c:v>
                </c:pt>
                <c:pt idx="32">
                  <c:v>96.785857242267056</c:v>
                </c:pt>
                <c:pt idx="33">
                  <c:v>97.637559762546303</c:v>
                </c:pt>
                <c:pt idx="34">
                  <c:v>98.456696403223518</c:v>
                </c:pt>
                <c:pt idx="35">
                  <c:v>99.255301999574186</c:v>
                </c:pt>
                <c:pt idx="36">
                  <c:v>100.05385338177223</c:v>
                </c:pt>
                <c:pt idx="37">
                  <c:v>100.85724647178382</c:v>
                </c:pt>
                <c:pt idx="38">
                  <c:v>101.66442991135604</c:v>
                </c:pt>
                <c:pt idx="39">
                  <c:v>102.47733174402876</c:v>
                </c:pt>
                <c:pt idx="40">
                  <c:v>103.29695857767942</c:v>
                </c:pt>
                <c:pt idx="41">
                  <c:v>104.12206297863568</c:v>
                </c:pt>
                <c:pt idx="42">
                  <c:v>104.96360503885043</c:v>
                </c:pt>
                <c:pt idx="43">
                  <c:v>105.82243362489154</c:v>
                </c:pt>
                <c:pt idx="44">
                  <c:v>106.69925445510621</c:v>
                </c:pt>
                <c:pt idx="45">
                  <c:v>107.59218183870024</c:v>
                </c:pt>
                <c:pt idx="46">
                  <c:v>108.4996339074152</c:v>
                </c:pt>
                <c:pt idx="47">
                  <c:v>109.42395557830426</c:v>
                </c:pt>
                <c:pt idx="48">
                  <c:v>110.36633706214619</c:v>
                </c:pt>
                <c:pt idx="49">
                  <c:v>111.32811466942772</c:v>
                </c:pt>
                <c:pt idx="50">
                  <c:v>112.3107140239928</c:v>
                </c:pt>
                <c:pt idx="51">
                  <c:v>113.31305519550845</c:v>
                </c:pt>
                <c:pt idx="52">
                  <c:v>114.33446118381821</c:v>
                </c:pt>
                <c:pt idx="53">
                  <c:v>115.37644912046113</c:v>
                </c:pt>
                <c:pt idx="54">
                  <c:v>116.44013057650533</c:v>
                </c:pt>
                <c:pt idx="55">
                  <c:v>117.52537930318475</c:v>
                </c:pt>
                <c:pt idx="56">
                  <c:v>118.63193696280837</c:v>
                </c:pt>
                <c:pt idx="57">
                  <c:v>119.76096471157979</c:v>
                </c:pt>
                <c:pt idx="58">
                  <c:v>120.91277496593982</c:v>
                </c:pt>
                <c:pt idx="59">
                  <c:v>122.08719481623764</c:v>
                </c:pt>
                <c:pt idx="60">
                  <c:v>123.28574045001088</c:v>
                </c:pt>
                <c:pt idx="61">
                  <c:v>124.50780420960707</c:v>
                </c:pt>
                <c:pt idx="62">
                  <c:v>125.75446202959087</c:v>
                </c:pt>
                <c:pt idx="63">
                  <c:v>127.02573405683711</c:v>
                </c:pt>
                <c:pt idx="64">
                  <c:v>128.32228164345503</c:v>
                </c:pt>
                <c:pt idx="65">
                  <c:v>129.6444697612169</c:v>
                </c:pt>
                <c:pt idx="66">
                  <c:v>130.99311236587386</c:v>
                </c:pt>
                <c:pt idx="67">
                  <c:v>132.36818399133679</c:v>
                </c:pt>
                <c:pt idx="68">
                  <c:v>133.77039211691493</c:v>
                </c:pt>
                <c:pt idx="69">
                  <c:v>135.19966899586552</c:v>
                </c:pt>
                <c:pt idx="70">
                  <c:v>136.65710007428527</c:v>
                </c:pt>
                <c:pt idx="71">
                  <c:v>138.14315931633331</c:v>
                </c:pt>
                <c:pt idx="72">
                  <c:v>139.65783476503765</c:v>
                </c:pt>
                <c:pt idx="73">
                  <c:v>141.20220922523299</c:v>
                </c:pt>
                <c:pt idx="74">
                  <c:v>142.77682522682721</c:v>
                </c:pt>
                <c:pt idx="75">
                  <c:v>144.38164056270861</c:v>
                </c:pt>
                <c:pt idx="76">
                  <c:v>146.01736659548354</c:v>
                </c:pt>
                <c:pt idx="77">
                  <c:v>147.68486272718897</c:v>
                </c:pt>
                <c:pt idx="78">
                  <c:v>149.38460711217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42</c:v>
                </c:pt>
                <c:pt idx="2">
                  <c:v>41</c:v>
                </c:pt>
                <c:pt idx="3">
                  <c:v>37</c:v>
                </c:pt>
                <c:pt idx="4">
                  <c:v>36</c:v>
                </c:pt>
                <c:pt idx="5">
                  <c:v>35</c:v>
                </c:pt>
                <c:pt idx="6">
                  <c:v>35</c:v>
                </c:pt>
                <c:pt idx="7">
                  <c:v>28</c:v>
                </c:pt>
                <c:pt idx="8">
                  <c:v>27</c:v>
                </c:pt>
                <c:pt idx="9">
                  <c:v>24</c:v>
                </c:pt>
                <c:pt idx="10">
                  <c:v>21</c:v>
                </c:pt>
                <c:pt idx="11">
                  <c:v>20</c:v>
                </c:pt>
                <c:pt idx="12">
                  <c:v>19</c:v>
                </c:pt>
                <c:pt idx="13">
                  <c:v>16</c:v>
                </c:pt>
                <c:pt idx="14">
                  <c:v>16</c:v>
                </c:pt>
                <c:pt idx="15">
                  <c:v>18</c:v>
                </c:pt>
                <c:pt idx="16">
                  <c:v>19</c:v>
                </c:pt>
                <c:pt idx="17">
                  <c:v>19</c:v>
                </c:pt>
                <c:pt idx="18">
                  <c:v>17</c:v>
                </c:pt>
                <c:pt idx="19">
                  <c:v>16</c:v>
                </c:pt>
                <c:pt idx="20">
                  <c:v>7</c:v>
                </c:pt>
                <c:pt idx="21">
                  <c:v>8</c:v>
                </c:pt>
                <c:pt idx="22">
                  <c:v>6</c:v>
                </c:pt>
                <c:pt idx="23">
                  <c:v>5</c:v>
                </c:pt>
                <c:pt idx="24">
                  <c:v>5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3</c:v>
                </c:pt>
                <c:pt idx="29">
                  <c:v>4</c:v>
                </c:pt>
                <c:pt idx="30">
                  <c:v>5</c:v>
                </c:pt>
                <c:pt idx="31">
                  <c:v>6</c:v>
                </c:pt>
                <c:pt idx="32">
                  <c:v>6</c:v>
                </c:pt>
                <c:pt idx="33">
                  <c:v>3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4</c:v>
                </c:pt>
                <c:pt idx="41">
                  <c:v>1</c:v>
                </c:pt>
                <c:pt idx="42">
                  <c:v>3</c:v>
                </c:pt>
                <c:pt idx="43">
                  <c:v>2</c:v>
                </c:pt>
                <c:pt idx="44">
                  <c:v>2</c:v>
                </c:pt>
                <c:pt idx="45">
                  <c:v>3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.8602765452039511</c:v>
                </c:pt>
                <c:pt idx="32">
                  <c:v>5.3995981162397859</c:v>
                </c:pt>
                <c:pt idx="33">
                  <c:v>4.9724484395363806</c:v>
                </c:pt>
                <c:pt idx="34">
                  <c:v>4.5588353745948806</c:v>
                </c:pt>
                <c:pt idx="35">
                  <c:v>4.1729136792507511</c:v>
                </c:pt>
                <c:pt idx="36">
                  <c:v>3.8219726464329469</c:v>
                </c:pt>
                <c:pt idx="37">
                  <c:v>3.4936503450046827</c:v>
                </c:pt>
                <c:pt idx="38">
                  <c:v>3.1853387583622959</c:v>
                </c:pt>
                <c:pt idx="39">
                  <c:v>2.8980283836557916</c:v>
                </c:pt>
                <c:pt idx="40">
                  <c:v>2.6264939400845844</c:v>
                </c:pt>
                <c:pt idx="41">
                  <c:v>2.3663383729605343</c:v>
                </c:pt>
                <c:pt idx="42">
                  <c:v>2.1258079857437959</c:v>
                </c:pt>
                <c:pt idx="43">
                  <c:v>1.9078578242479129</c:v>
                </c:pt>
                <c:pt idx="44">
                  <c:v>1.6940495753649438</c:v>
                </c:pt>
                <c:pt idx="45">
                  <c:v>1.4959332560298184</c:v>
                </c:pt>
                <c:pt idx="46">
                  <c:v>1.3125747961207326</c:v>
                </c:pt>
                <c:pt idx="47">
                  <c:v>1.1296363386348265</c:v>
                </c:pt>
                <c:pt idx="48">
                  <c:v>0.96569315796341071</c:v>
                </c:pt>
                <c:pt idx="49">
                  <c:v>0.80912027072264037</c:v>
                </c:pt>
                <c:pt idx="50">
                  <c:v>0.65476013963459812</c:v>
                </c:pt>
                <c:pt idx="51">
                  <c:v>0.51668232691454508</c:v>
                </c:pt>
                <c:pt idx="52">
                  <c:v>0.37971671591553469</c:v>
                </c:pt>
                <c:pt idx="53">
                  <c:v>0.25206761502469177</c:v>
                </c:pt>
                <c:pt idx="54">
                  <c:v>0.13159802441181337</c:v>
                </c:pt>
                <c:pt idx="55">
                  <c:v>1.55349116587636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.867736939374594</c:v>
                </c:pt>
                <c:pt idx="32">
                  <c:v>5.4203606231924049</c:v>
                </c:pt>
                <c:pt idx="33">
                  <c:v>5.0110502799302292</c:v>
                </c:pt>
                <c:pt idx="34">
                  <c:v>4.6187979668513082</c:v>
                </c:pt>
                <c:pt idx="35">
                  <c:v>4.2582532511673499</c:v>
                </c:pt>
                <c:pt idx="36">
                  <c:v>3.9375860433071037</c:v>
                </c:pt>
                <c:pt idx="37">
                  <c:v>3.6454215650424375</c:v>
                </c:pt>
                <c:pt idx="38">
                  <c:v>3.378917060509135</c:v>
                </c:pt>
                <c:pt idx="39">
                  <c:v>3.1377855192495074</c:v>
                </c:pt>
                <c:pt idx="40">
                  <c:v>2.9161303925878941</c:v>
                </c:pt>
                <c:pt idx="41">
                  <c:v>2.7088648617396163</c:v>
                </c:pt>
                <c:pt idx="42">
                  <c:v>2.5241620626316381</c:v>
                </c:pt>
                <c:pt idx="43">
                  <c:v>2.3646757345018194</c:v>
                </c:pt>
                <c:pt idx="44">
                  <c:v>2.2110996556499263</c:v>
                </c:pt>
                <c:pt idx="45">
                  <c:v>2.0742410708262509</c:v>
                </c:pt>
                <c:pt idx="46">
                  <c:v>1.952153162587472</c:v>
                </c:pt>
                <c:pt idx="47">
                  <c:v>1.8301091366688684</c:v>
                </c:pt>
                <c:pt idx="48">
                  <c:v>1.7264814207939863</c:v>
                </c:pt>
                <c:pt idx="49">
                  <c:v>1.6290063657278888</c:v>
                </c:pt>
                <c:pt idx="50">
                  <c:v>1.5321820524263359</c:v>
                </c:pt>
                <c:pt idx="51">
                  <c:v>1.4500277852061529</c:v>
                </c:pt>
                <c:pt idx="52">
                  <c:v>1.3667574547083017</c:v>
                </c:pt>
                <c:pt idx="53">
                  <c:v>1.2903611683707621</c:v>
                </c:pt>
                <c:pt idx="54">
                  <c:v>1.2187983722828692</c:v>
                </c:pt>
                <c:pt idx="55">
                  <c:v>1.1490582265414271</c:v>
                </c:pt>
                <c:pt idx="56">
                  <c:v>1.0887269572162745</c:v>
                </c:pt>
                <c:pt idx="57">
                  <c:v>1.0265964257175477</c:v>
                </c:pt>
                <c:pt idx="58">
                  <c:v>0.96992440333207897</c:v>
                </c:pt>
                <c:pt idx="59">
                  <c:v>0.9140786005197501</c:v>
                </c:pt>
                <c:pt idx="60">
                  <c:v>0.86293180408985948</c:v>
                </c:pt>
                <c:pt idx="61">
                  <c:v>0.81347239776966651</c:v>
                </c:pt>
                <c:pt idx="62">
                  <c:v>0.76453263590637011</c:v>
                </c:pt>
                <c:pt idx="63">
                  <c:v>0.71823451439404029</c:v>
                </c:pt>
                <c:pt idx="64">
                  <c:v>0.67182921716648436</c:v>
                </c:pt>
                <c:pt idx="65">
                  <c:v>0.6287323726912073</c:v>
                </c:pt>
                <c:pt idx="66">
                  <c:v>0.58680320767466387</c:v>
                </c:pt>
                <c:pt idx="67">
                  <c:v>0.54665569125194302</c:v>
                </c:pt>
                <c:pt idx="68">
                  <c:v>0.50837028407090179</c:v>
                </c:pt>
                <c:pt idx="69">
                  <c:v>0.47070994513999953</c:v>
                </c:pt>
                <c:pt idx="70">
                  <c:v>0.43428036100929757</c:v>
                </c:pt>
                <c:pt idx="71">
                  <c:v>0.3988642099836146</c:v>
                </c:pt>
                <c:pt idx="72">
                  <c:v>0.36454056852790473</c:v>
                </c:pt>
                <c:pt idx="73">
                  <c:v>0.33146228486617746</c:v>
                </c:pt>
                <c:pt idx="74">
                  <c:v>0.29855345946272394</c:v>
                </c:pt>
                <c:pt idx="75">
                  <c:v>0.26886092712710141</c:v>
                </c:pt>
                <c:pt idx="76">
                  <c:v>0.23787868977820056</c:v>
                </c:pt>
                <c:pt idx="77">
                  <c:v>0.20955406617398559</c:v>
                </c:pt>
                <c:pt idx="78">
                  <c:v>0.18139119305877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.8751973335452377</c:v>
                </c:pt>
                <c:pt idx="32">
                  <c:v>5.4413303633164318</c:v>
                </c:pt>
                <c:pt idx="33">
                  <c:v>5.0499180068712093</c:v>
                </c:pt>
                <c:pt idx="34">
                  <c:v>4.678864111409947</c:v>
                </c:pt>
                <c:pt idx="35">
                  <c:v>4.3445043331593247</c:v>
                </c:pt>
                <c:pt idx="36">
                  <c:v>4.0562004489150834</c:v>
                </c:pt>
                <c:pt idx="37">
                  <c:v>3.8040016352648016</c:v>
                </c:pt>
                <c:pt idx="38">
                  <c:v>3.5855048220445349</c:v>
                </c:pt>
                <c:pt idx="39">
                  <c:v>3.3986411962133811</c:v>
                </c:pt>
                <c:pt idx="40">
                  <c:v>3.2368782910830225</c:v>
                </c:pt>
                <c:pt idx="41">
                  <c:v>3.0955952179978174</c:v>
                </c:pt>
                <c:pt idx="42">
                  <c:v>2.9834648044550023</c:v>
                </c:pt>
                <c:pt idx="43">
                  <c:v>2.9033419751268488</c:v>
                </c:pt>
                <c:pt idx="44">
                  <c:v>2.8349489620334629</c:v>
                </c:pt>
                <c:pt idx="45">
                  <c:v>2.7886096945470995</c:v>
                </c:pt>
                <c:pt idx="46">
                  <c:v>2.7614204515731595</c:v>
                </c:pt>
                <c:pt idx="47">
                  <c:v>2.7389742382368274</c:v>
                </c:pt>
                <c:pt idx="48">
                  <c:v>2.7393985587009437</c:v>
                </c:pt>
                <c:pt idx="49">
                  <c:v>2.7502059701248882</c:v>
                </c:pt>
                <c:pt idx="50">
                  <c:v>2.7656109515293759</c:v>
                </c:pt>
                <c:pt idx="51">
                  <c:v>2.7987405771448151</c:v>
                </c:pt>
                <c:pt idx="52">
                  <c:v>2.8334954901830129</c:v>
                </c:pt>
                <c:pt idx="53">
                  <c:v>2.8781768590502073</c:v>
                </c:pt>
                <c:pt idx="54">
                  <c:v>2.9306374170349678</c:v>
                </c:pt>
                <c:pt idx="55">
                  <c:v>2.9875179202184201</c:v>
                </c:pt>
                <c:pt idx="56">
                  <c:v>3.0559831842997713</c:v>
                </c:pt>
                <c:pt idx="57">
                  <c:v>3.1249704899314485</c:v>
                </c:pt>
                <c:pt idx="58">
                  <c:v>3.2014214548148598</c:v>
                </c:pt>
                <c:pt idx="59">
                  <c:v>3.2805873176060354</c:v>
                </c:pt>
                <c:pt idx="60">
                  <c:v>3.3666072737641164</c:v>
                </c:pt>
                <c:pt idx="61">
                  <c:v>3.4560304658627485</c:v>
                </c:pt>
                <c:pt idx="62">
                  <c:v>3.5479423481761501</c:v>
                </c:pt>
                <c:pt idx="63">
                  <c:v>3.6442609296038437</c:v>
                </c:pt>
                <c:pt idx="64">
                  <c:v>3.7423288185931254</c:v>
                </c:pt>
                <c:pt idx="65">
                  <c:v>3.8453181674763668</c:v>
                </c:pt>
                <c:pt idx="66">
                  <c:v>3.9514337522884064</c:v>
                </c:pt>
                <c:pt idx="67">
                  <c:v>4.0611032860352534</c:v>
                </c:pt>
                <c:pt idx="68">
                  <c:v>4.1743453954150551</c:v>
                </c:pt>
                <c:pt idx="69">
                  <c:v>4.2898575352822519</c:v>
                </c:pt>
                <c:pt idx="70">
                  <c:v>4.408381176784431</c:v>
                </c:pt>
                <c:pt idx="71">
                  <c:v>4.5298891063563982</c:v>
                </c:pt>
                <c:pt idx="72">
                  <c:v>4.6541101298183642</c:v>
                </c:pt>
                <c:pt idx="73">
                  <c:v>4.7816978099227976</c:v>
                </c:pt>
                <c:pt idx="74">
                  <c:v>4.9114337385694506</c:v>
                </c:pt>
                <c:pt idx="75">
                  <c:v>5.0461275062514392</c:v>
                </c:pt>
                <c:pt idx="76">
                  <c:v>5.1816080028665183</c:v>
                </c:pt>
                <c:pt idx="77">
                  <c:v>5.3216536082239596</c:v>
                </c:pt>
                <c:pt idx="78">
                  <c:v>5.4641147008551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6</c:v>
                </c:pt>
                <c:pt idx="5">
                  <c:v>18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1</c:v>
                </c:pt>
                <c:pt idx="12">
                  <c:v>11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9</c:v>
                </c:pt>
                <c:pt idx="17">
                  <c:v>10</c:v>
                </c:pt>
                <c:pt idx="18">
                  <c:v>8</c:v>
                </c:pt>
                <c:pt idx="19">
                  <c:v>7</c:v>
                </c:pt>
                <c:pt idx="20">
                  <c:v>7</c:v>
                </c:pt>
                <c:pt idx="21">
                  <c:v>8</c:v>
                </c:pt>
                <c:pt idx="22">
                  <c:v>7</c:v>
                </c:pt>
                <c:pt idx="23">
                  <c:v>9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7</c:v>
                </c:pt>
                <c:pt idx="31">
                  <c:v>7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3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.6754007042083527</c:v>
                </c:pt>
                <c:pt idx="32">
                  <c:v>7.0833934528559528</c:v>
                </c:pt>
                <c:pt idx="33">
                  <c:v>6.5332963268601576</c:v>
                </c:pt>
                <c:pt idx="34">
                  <c:v>6.0121469133240932</c:v>
                </c:pt>
                <c:pt idx="35">
                  <c:v>5.5274935074749756</c:v>
                </c:pt>
                <c:pt idx="36">
                  <c:v>5.0869897732008642</c:v>
                </c:pt>
                <c:pt idx="37">
                  <c:v>4.6764380883037244</c:v>
                </c:pt>
                <c:pt idx="38">
                  <c:v>4.2910179902582923</c:v>
                </c:pt>
                <c:pt idx="39">
                  <c:v>3.9305661227066251</c:v>
                </c:pt>
                <c:pt idx="40">
                  <c:v>3.5935789995489</c:v>
                </c:pt>
                <c:pt idx="41">
                  <c:v>3.2744257588655956</c:v>
                </c:pt>
                <c:pt idx="42">
                  <c:v>2.9791961881233084</c:v>
                </c:pt>
                <c:pt idx="43">
                  <c:v>2.7124628991035862</c:v>
                </c:pt>
                <c:pt idx="44">
                  <c:v>2.4614654621555419</c:v>
                </c:pt>
                <c:pt idx="45">
                  <c:v>2.2271117468053609</c:v>
                </c:pt>
                <c:pt idx="46">
                  <c:v>2.0073309290556205</c:v>
                </c:pt>
                <c:pt idx="47">
                  <c:v>1.7944357856824777</c:v>
                </c:pt>
                <c:pt idx="48">
                  <c:v>1.6009978578819046</c:v>
                </c:pt>
                <c:pt idx="49">
                  <c:v>1.4200803561220159</c:v>
                </c:pt>
                <c:pt idx="50">
                  <c:v>1.2481842639379377</c:v>
                </c:pt>
                <c:pt idx="51">
                  <c:v>1.0943928637544305</c:v>
                </c:pt>
                <c:pt idx="52">
                  <c:v>0.94498273875512295</c:v>
                </c:pt>
                <c:pt idx="53">
                  <c:v>0.80450922401841185</c:v>
                </c:pt>
                <c:pt idx="54">
                  <c:v>0.67133825318437368</c:v>
                </c:pt>
                <c:pt idx="55">
                  <c:v>0.54628653661034565</c:v>
                </c:pt>
                <c:pt idx="56">
                  <c:v>0.43267129824219641</c:v>
                </c:pt>
                <c:pt idx="57">
                  <c:v>0.32368788516702396</c:v>
                </c:pt>
                <c:pt idx="58">
                  <c:v>0.22346856728696171</c:v>
                </c:pt>
                <c:pt idx="59">
                  <c:v>0.12857326859765536</c:v>
                </c:pt>
                <c:pt idx="60">
                  <c:v>3.935327959423146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.6840216519027109</c:v>
                </c:pt>
                <c:pt idx="32">
                  <c:v>7.107475470396432</c:v>
                </c:pt>
                <c:pt idx="33">
                  <c:v>6.577934797629517</c:v>
                </c:pt>
                <c:pt idx="34">
                  <c:v>6.0812497041039384</c:v>
                </c:pt>
                <c:pt idx="35">
                  <c:v>5.6254793058028749</c:v>
                </c:pt>
                <c:pt idx="36">
                  <c:v>5.2191493828342663</c:v>
                </c:pt>
                <c:pt idx="37">
                  <c:v>4.8490046270672469</c:v>
                </c:pt>
                <c:pt idx="38">
                  <c:v>4.5099137724261436</c:v>
                </c:pt>
                <c:pt idx="39">
                  <c:v>4.2002212769009741</c:v>
                </c:pt>
                <c:pt idx="40">
                  <c:v>3.9175600986486616</c:v>
                </c:pt>
                <c:pt idx="41">
                  <c:v>3.6555675569050865</c:v>
                </c:pt>
                <c:pt idx="42">
                  <c:v>3.4203907661549757</c:v>
                </c:pt>
                <c:pt idx="43">
                  <c:v>3.216259829944216</c:v>
                </c:pt>
                <c:pt idx="44">
                  <c:v>3.0294927391777255</c:v>
                </c:pt>
                <c:pt idx="45">
                  <c:v>2.8601152834419565</c:v>
                </c:pt>
                <c:pt idx="46">
                  <c:v>2.7050422100141032</c:v>
                </c:pt>
                <c:pt idx="47">
                  <c:v>2.5562241301514881</c:v>
                </c:pt>
                <c:pt idx="48">
                  <c:v>2.4260475519752522</c:v>
                </c:pt>
                <c:pt idx="49">
                  <c:v>2.3068917561444278</c:v>
                </c:pt>
                <c:pt idx="50">
                  <c:v>2.1948827113743454</c:v>
                </c:pt>
                <c:pt idx="51">
                  <c:v>2.0991180758260515</c:v>
                </c:pt>
                <c:pt idx="52">
                  <c:v>2.0052292686916982</c:v>
                </c:pt>
                <c:pt idx="53">
                  <c:v>1.9175492267392433</c:v>
                </c:pt>
                <c:pt idx="54">
                  <c:v>1.8345882598004575</c:v>
                </c:pt>
                <c:pt idx="55">
                  <c:v>1.7569512829658627</c:v>
                </c:pt>
                <c:pt idx="56">
                  <c:v>1.6879178735461315</c:v>
                </c:pt>
                <c:pt idx="57">
                  <c:v>1.6204953682713521</c:v>
                </c:pt>
                <c:pt idx="58">
                  <c:v>1.5590682641629141</c:v>
                </c:pt>
                <c:pt idx="59">
                  <c:v>1.4998365437564203</c:v>
                </c:pt>
                <c:pt idx="60">
                  <c:v>1.4436027978360766</c:v>
                </c:pt>
                <c:pt idx="61">
                  <c:v>1.3913984706419373</c:v>
                </c:pt>
                <c:pt idx="62">
                  <c:v>1.3394376319130656</c:v>
                </c:pt>
                <c:pt idx="63">
                  <c:v>1.2887518218190492</c:v>
                </c:pt>
                <c:pt idx="64">
                  <c:v>1.2422979172726232</c:v>
                </c:pt>
                <c:pt idx="65">
                  <c:v>1.1985671027573148</c:v>
                </c:pt>
                <c:pt idx="66">
                  <c:v>1.1546014710639103</c:v>
                </c:pt>
                <c:pt idx="67">
                  <c:v>1.1137276820507191</c:v>
                </c:pt>
                <c:pt idx="68">
                  <c:v>1.0743607338098844</c:v>
                </c:pt>
                <c:pt idx="69">
                  <c:v>1.0354162495325683</c:v>
                </c:pt>
                <c:pt idx="70">
                  <c:v>0.99774460895106354</c:v>
                </c:pt>
                <c:pt idx="71">
                  <c:v>0.96177787311657648</c:v>
                </c:pt>
                <c:pt idx="72">
                  <c:v>0.92827287963115568</c:v>
                </c:pt>
                <c:pt idx="73">
                  <c:v>0.89453998287668468</c:v>
                </c:pt>
                <c:pt idx="74">
                  <c:v>0.86098733352882806</c:v>
                </c:pt>
                <c:pt idx="75">
                  <c:v>0.82980960856137065</c:v>
                </c:pt>
                <c:pt idx="76">
                  <c:v>0.79842818982353692</c:v>
                </c:pt>
                <c:pt idx="77">
                  <c:v>0.76908495850939051</c:v>
                </c:pt>
                <c:pt idx="78">
                  <c:v>0.73972002275779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.6926425995970664</c:v>
                </c:pt>
                <c:pt idx="32">
                  <c:v>7.1317969587061985</c:v>
                </c:pt>
                <c:pt idx="33">
                  <c:v>6.6228830071766254</c:v>
                </c:pt>
                <c:pt idx="34">
                  <c:v>6.1504692996229906</c:v>
                </c:pt>
                <c:pt idx="35">
                  <c:v>5.7245106325629731</c:v>
                </c:pt>
                <c:pt idx="36">
                  <c:v>5.3547804746350129</c:v>
                </c:pt>
                <c:pt idx="37">
                  <c:v>5.0294387531773177</c:v>
                </c:pt>
                <c:pt idx="38">
                  <c:v>4.7438153107090715</c:v>
                </c:pt>
                <c:pt idx="39">
                  <c:v>4.4941686859963719</c:v>
                </c:pt>
                <c:pt idx="40">
                  <c:v>4.2772498061233044</c:v>
                </c:pt>
                <c:pt idx="41">
                  <c:v>4.087255696904851</c:v>
                </c:pt>
                <c:pt idx="42">
                  <c:v>3.9310234548705068</c:v>
                </c:pt>
                <c:pt idx="43">
                  <c:v>3.8129531406902286</c:v>
                </c:pt>
                <c:pt idx="44">
                  <c:v>3.7182563002837847</c:v>
                </c:pt>
                <c:pt idx="45">
                  <c:v>3.6463421544295072</c:v>
                </c:pt>
                <c:pt idx="46">
                  <c:v>3.5931535666323606</c:v>
                </c:pt>
                <c:pt idx="47">
                  <c:v>3.5510391748803158</c:v>
                </c:pt>
                <c:pt idx="48">
                  <c:v>3.5321386568456523</c:v>
                </c:pt>
                <c:pt idx="49">
                  <c:v>3.5285763693630767</c:v>
                </c:pt>
                <c:pt idx="50">
                  <c:v>3.5361508515514304</c:v>
                </c:pt>
                <c:pt idx="51">
                  <c:v>3.5629746692249329</c:v>
                </c:pt>
                <c:pt idx="52">
                  <c:v>3.5943536729735306</c:v>
                </c:pt>
                <c:pt idx="53">
                  <c:v>3.6350284835608422</c:v>
                </c:pt>
                <c:pt idx="54">
                  <c:v>3.6834042557251694</c:v>
                </c:pt>
                <c:pt idx="55">
                  <c:v>3.7397060878822805</c:v>
                </c:pt>
                <c:pt idx="56">
                  <c:v>3.8067646820215315</c:v>
                </c:pt>
                <c:pt idx="57">
                  <c:v>3.8777918584118849</c:v>
                </c:pt>
                <c:pt idx="58">
                  <c:v>3.9568541652602098</c:v>
                </c:pt>
                <c:pt idx="59">
                  <c:v>4.0400095099441735</c:v>
                </c:pt>
                <c:pt idx="60">
                  <c:v>4.1283768151435289</c:v>
                </c:pt>
                <c:pt idx="61">
                  <c:v>4.2224912647068411</c:v>
                </c:pt>
                <c:pt idx="62">
                  <c:v>4.3188646491532765</c:v>
                </c:pt>
                <c:pt idx="63">
                  <c:v>4.4183269433761652</c:v>
                </c:pt>
                <c:pt idx="64">
                  <c:v>4.5239505469436638</c:v>
                </c:pt>
                <c:pt idx="65">
                  <c:v>4.6339572552254751</c:v>
                </c:pt>
                <c:pt idx="66">
                  <c:v>4.7457692388504222</c:v>
                </c:pt>
                <c:pt idx="67">
                  <c:v>4.8625038338414051</c:v>
                </c:pt>
                <c:pt idx="68">
                  <c:v>4.9825043450288362</c:v>
                </c:pt>
                <c:pt idx="69">
                  <c:v>5.1046221954896094</c:v>
                </c:pt>
                <c:pt idx="70">
                  <c:v>5.2298755803386223</c:v>
                </c:pt>
                <c:pt idx="71">
                  <c:v>5.3589093371965042</c:v>
                </c:pt>
                <c:pt idx="72">
                  <c:v>5.4920609928474269</c:v>
                </c:pt>
                <c:pt idx="73">
                  <c:v>5.6272200062686135</c:v>
                </c:pt>
                <c:pt idx="74">
                  <c:v>5.7646465513577132</c:v>
                </c:pt>
                <c:pt idx="75">
                  <c:v>5.9062475533442083</c:v>
                </c:pt>
                <c:pt idx="76">
                  <c:v>6.0498151453506726</c:v>
                </c:pt>
                <c:pt idx="77">
                  <c:v>6.1974138894884812</c:v>
                </c:pt>
                <c:pt idx="78">
                  <c:v>6.3473686566588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</c:v>
                </c:pt>
                <c:pt idx="1">
                  <c:v>65</c:v>
                </c:pt>
                <c:pt idx="2">
                  <c:v>69</c:v>
                </c:pt>
                <c:pt idx="3">
                  <c:v>67</c:v>
                </c:pt>
                <c:pt idx="4">
                  <c:v>62</c:v>
                </c:pt>
                <c:pt idx="5">
                  <c:v>52</c:v>
                </c:pt>
                <c:pt idx="6">
                  <c:v>48</c:v>
                </c:pt>
                <c:pt idx="7">
                  <c:v>49</c:v>
                </c:pt>
                <c:pt idx="8">
                  <c:v>54</c:v>
                </c:pt>
                <c:pt idx="9">
                  <c:v>59</c:v>
                </c:pt>
                <c:pt idx="10">
                  <c:v>53</c:v>
                </c:pt>
                <c:pt idx="11">
                  <c:v>51</c:v>
                </c:pt>
                <c:pt idx="12">
                  <c:v>51</c:v>
                </c:pt>
                <c:pt idx="13">
                  <c:v>47</c:v>
                </c:pt>
                <c:pt idx="14">
                  <c:v>44</c:v>
                </c:pt>
                <c:pt idx="15">
                  <c:v>44</c:v>
                </c:pt>
                <c:pt idx="16">
                  <c:v>41</c:v>
                </c:pt>
                <c:pt idx="17">
                  <c:v>33</c:v>
                </c:pt>
                <c:pt idx="18">
                  <c:v>32</c:v>
                </c:pt>
                <c:pt idx="19">
                  <c:v>27</c:v>
                </c:pt>
                <c:pt idx="20">
                  <c:v>30</c:v>
                </c:pt>
                <c:pt idx="21">
                  <c:v>26</c:v>
                </c:pt>
                <c:pt idx="22">
                  <c:v>28</c:v>
                </c:pt>
                <c:pt idx="23">
                  <c:v>27</c:v>
                </c:pt>
                <c:pt idx="24">
                  <c:v>28</c:v>
                </c:pt>
                <c:pt idx="25">
                  <c:v>27</c:v>
                </c:pt>
                <c:pt idx="26">
                  <c:v>18</c:v>
                </c:pt>
                <c:pt idx="27">
                  <c:v>14</c:v>
                </c:pt>
                <c:pt idx="28">
                  <c:v>10</c:v>
                </c:pt>
                <c:pt idx="29">
                  <c:v>12</c:v>
                </c:pt>
                <c:pt idx="30">
                  <c:v>16</c:v>
                </c:pt>
                <c:pt idx="31">
                  <c:v>12</c:v>
                </c:pt>
                <c:pt idx="32">
                  <c:v>11</c:v>
                </c:pt>
                <c:pt idx="33">
                  <c:v>9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2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4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.337036038018002</c:v>
                </c:pt>
                <c:pt idx="32">
                  <c:v>13.235246194657472</c:v>
                </c:pt>
                <c:pt idx="33">
                  <c:v>12.211029821579865</c:v>
                </c:pt>
                <c:pt idx="34">
                  <c:v>11.244868091749568</c:v>
                </c:pt>
                <c:pt idx="35">
                  <c:v>10.346958824990203</c:v>
                </c:pt>
                <c:pt idx="36">
                  <c:v>9.5309262908120775</c:v>
                </c:pt>
                <c:pt idx="37">
                  <c:v>8.7709580740933628</c:v>
                </c:pt>
                <c:pt idx="38">
                  <c:v>8.0575512690426514</c:v>
                </c:pt>
                <c:pt idx="39">
                  <c:v>7.3898821962913326</c:v>
                </c:pt>
                <c:pt idx="40">
                  <c:v>6.7670383007413459</c:v>
                </c:pt>
                <c:pt idx="41">
                  <c:v>6.1785470612609785</c:v>
                </c:pt>
                <c:pt idx="42">
                  <c:v>5.634111380227627</c:v>
                </c:pt>
                <c:pt idx="43">
                  <c:v>5.1425218510640365</c:v>
                </c:pt>
                <c:pt idx="44">
                  <c:v>4.6839861610868976</c:v>
                </c:pt>
                <c:pt idx="45">
                  <c:v>4.2551520506044209</c:v>
                </c:pt>
                <c:pt idx="46">
                  <c:v>3.8518505358190951</c:v>
                </c:pt>
                <c:pt idx="47">
                  <c:v>3.463660104986257</c:v>
                </c:pt>
                <c:pt idx="48">
                  <c:v>3.1098895023532207</c:v>
                </c:pt>
                <c:pt idx="49">
                  <c:v>2.7805239778587945</c:v>
                </c:pt>
                <c:pt idx="50">
                  <c:v>2.4701835536370353</c:v>
                </c:pt>
                <c:pt idx="51">
                  <c:v>2.1925178317549956</c:v>
                </c:pt>
                <c:pt idx="52">
                  <c:v>1.92407423925926</c:v>
                </c:pt>
                <c:pt idx="53">
                  <c:v>1.6711642247491925</c:v>
                </c:pt>
                <c:pt idx="54">
                  <c:v>1.4311490100591338</c:v>
                </c:pt>
                <c:pt idx="55">
                  <c:v>1.207133456852999</c:v>
                </c:pt>
                <c:pt idx="56">
                  <c:v>1.0029417734808781</c:v>
                </c:pt>
                <c:pt idx="57">
                  <c:v>0.80857253848800315</c:v>
                </c:pt>
                <c:pt idx="58">
                  <c:v>0.62992511061358103</c:v>
                </c:pt>
                <c:pt idx="59">
                  <c:v>0.46135402436355871</c:v>
                </c:pt>
                <c:pt idx="60">
                  <c:v>0.30203361896913061</c:v>
                </c:pt>
                <c:pt idx="61">
                  <c:v>0.15575694227506132</c:v>
                </c:pt>
                <c:pt idx="62">
                  <c:v>1.44621511504184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.352730955029939</c:v>
                </c:pt>
                <c:pt idx="32">
                  <c:v>13.279124927868208</c:v>
                </c:pt>
                <c:pt idx="33">
                  <c:v>12.292309388138818</c:v>
                </c:pt>
                <c:pt idx="34">
                  <c:v>11.370598058293815</c:v>
                </c:pt>
                <c:pt idx="35">
                  <c:v>10.525094206305649</c:v>
                </c:pt>
                <c:pt idx="36">
                  <c:v>9.7709512958454781</c:v>
                </c:pt>
                <c:pt idx="37">
                  <c:v>9.0839926152762498</c:v>
                </c:pt>
                <c:pt idx="38">
                  <c:v>8.4541335105704274</c:v>
                </c:pt>
                <c:pt idx="39">
                  <c:v>7.8778272785555785</c:v>
                </c:pt>
                <c:pt idx="40">
                  <c:v>7.3525538584042449</c:v>
                </c:pt>
                <c:pt idx="41">
                  <c:v>6.8665346653049877</c:v>
                </c:pt>
                <c:pt idx="42">
                  <c:v>6.429634056152719</c:v>
                </c:pt>
                <c:pt idx="43">
                  <c:v>6.0500213505216465</c:v>
                </c:pt>
                <c:pt idx="44">
                  <c:v>5.7062591790482902</c:v>
                </c:pt>
                <c:pt idx="45">
                  <c:v>5.393379845547301</c:v>
                </c:pt>
                <c:pt idx="46">
                  <c:v>5.1054302574906778</c:v>
                </c:pt>
                <c:pt idx="47">
                  <c:v>4.8313646780002655</c:v>
                </c:pt>
                <c:pt idx="48">
                  <c:v>4.5901748530025603</c:v>
                </c:pt>
                <c:pt idx="49">
                  <c:v>4.3706226636705052</c:v>
                </c:pt>
                <c:pt idx="50">
                  <c:v>4.1666546270224458</c:v>
                </c:pt>
                <c:pt idx="51">
                  <c:v>3.9919756697021831</c:v>
                </c:pt>
                <c:pt idx="52">
                  <c:v>3.821985481399341</c:v>
                </c:pt>
                <c:pt idx="53">
                  <c:v>3.662600731470893</c:v>
                </c:pt>
                <c:pt idx="54">
                  <c:v>3.511458735628727</c:v>
                </c:pt>
                <c:pt idx="55">
                  <c:v>3.3713041224048528</c:v>
                </c:pt>
                <c:pt idx="56">
                  <c:v>3.2458998088586735</c:v>
                </c:pt>
                <c:pt idx="57">
                  <c:v>3.1249130219701966</c:v>
                </c:pt>
                <c:pt idx="58">
                  <c:v>3.0147155589147463</c:v>
                </c:pt>
                <c:pt idx="59">
                  <c:v>2.9090141142232411</c:v>
                </c:pt>
                <c:pt idx="60">
                  <c:v>2.8077920684473305</c:v>
                </c:pt>
                <c:pt idx="61">
                  <c:v>2.7147425555213403</c:v>
                </c:pt>
                <c:pt idx="62">
                  <c:v>2.6219926822706676</c:v>
                </c:pt>
                <c:pt idx="63">
                  <c:v>2.5308488297075362</c:v>
                </c:pt>
                <c:pt idx="64">
                  <c:v>2.4491620399681024</c:v>
                </c:pt>
                <c:pt idx="65">
                  <c:v>2.3719901634130234</c:v>
                </c:pt>
                <c:pt idx="66">
                  <c:v>2.2937533709621287</c:v>
                </c:pt>
                <c:pt idx="67">
                  <c:v>2.2215611183077018</c:v>
                </c:pt>
                <c:pt idx="68">
                  <c:v>2.1518526456208518</c:v>
                </c:pt>
                <c:pt idx="69">
                  <c:v>2.0827926438958362</c:v>
                </c:pt>
                <c:pt idx="70">
                  <c:v>2.0159898227403974</c:v>
                </c:pt>
                <c:pt idx="71">
                  <c:v>1.9525056712667599</c:v>
                </c:pt>
                <c:pt idx="72">
                  <c:v>1.8939858183995939</c:v>
                </c:pt>
                <c:pt idx="73">
                  <c:v>1.8343803008199489</c:v>
                </c:pt>
                <c:pt idx="74">
                  <c:v>1.7750966679030709</c:v>
                </c:pt>
                <c:pt idx="75">
                  <c:v>1.7195968516410187</c:v>
                </c:pt>
                <c:pt idx="76">
                  <c:v>1.6642439101567246</c:v>
                </c:pt>
                <c:pt idx="77">
                  <c:v>1.6121860107584478</c:v>
                </c:pt>
                <c:pt idx="78">
                  <c:v>1.5600046550903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.368425872041872</c:v>
                </c:pt>
                <c:pt idx="32">
                  <c:v>13.323439630995944</c:v>
                </c:pt>
                <c:pt idx="33">
                  <c:v>12.374153853522571</c:v>
                </c:pt>
                <c:pt idx="34">
                  <c:v>11.496539525066861</c:v>
                </c:pt>
                <c:pt idx="35">
                  <c:v>10.705129900916221</c:v>
                </c:pt>
                <c:pt idx="36">
                  <c:v>10.017297789024322</c:v>
                </c:pt>
                <c:pt idx="37">
                  <c:v>9.4113503534047975</c:v>
                </c:pt>
                <c:pt idx="38">
                  <c:v>8.8780235122816222</c:v>
                </c:pt>
                <c:pt idx="39">
                  <c:v>8.4099621916506813</c:v>
                </c:pt>
                <c:pt idx="40">
                  <c:v>8.0029813190316723</c:v>
                </c:pt>
                <c:pt idx="41">
                  <c:v>7.6463298554519259</c:v>
                </c:pt>
                <c:pt idx="42">
                  <c:v>7.3511735988827489</c:v>
                </c:pt>
                <c:pt idx="43">
                  <c:v>7.1259661268575138</c:v>
                </c:pt>
                <c:pt idx="44">
                  <c:v>6.9472622584114525</c:v>
                </c:pt>
                <c:pt idx="45">
                  <c:v>6.8089484343564308</c:v>
                </c:pt>
                <c:pt idx="46">
                  <c:v>6.703356062355752</c:v>
                </c:pt>
                <c:pt idx="47">
                  <c:v>6.62017549453466</c:v>
                </c:pt>
                <c:pt idx="48">
                  <c:v>6.5779636716812977</c:v>
                </c:pt>
                <c:pt idx="49">
                  <c:v>6.5650198540674962</c:v>
                </c:pt>
                <c:pt idx="50">
                  <c:v>6.5746945715274192</c:v>
                </c:pt>
                <c:pt idx="51">
                  <c:v>6.6189178180122923</c:v>
                </c:pt>
                <c:pt idx="52">
                  <c:v>6.6725112170981031</c:v>
                </c:pt>
                <c:pt idx="53">
                  <c:v>6.7421530576564876</c:v>
                </c:pt>
                <c:pt idx="54">
                  <c:v>6.825296521047969</c:v>
                </c:pt>
                <c:pt idx="55">
                  <c:v>6.9240039267195614</c:v>
                </c:pt>
                <c:pt idx="56">
                  <c:v>7.0412363157428732</c:v>
                </c:pt>
                <c:pt idx="57">
                  <c:v>7.1670478523614767</c:v>
                </c:pt>
                <c:pt idx="58">
                  <c:v>7.3072505571613267</c:v>
                </c:pt>
                <c:pt idx="59">
                  <c:v>7.4552894572310571</c:v>
                </c:pt>
                <c:pt idx="60">
                  <c:v>7.6117272452249107</c:v>
                </c:pt>
                <c:pt idx="61">
                  <c:v>7.7793581361446282</c:v>
                </c:pt>
                <c:pt idx="62">
                  <c:v>7.9508533193479902</c:v>
                </c:pt>
                <c:pt idx="63">
                  <c:v>8.1271659578165671</c:v>
                </c:pt>
                <c:pt idx="64">
                  <c:v>8.3163613829684095</c:v>
                </c:pt>
                <c:pt idx="65">
                  <c:v>8.5130118206873604</c:v>
                </c:pt>
                <c:pt idx="66">
                  <c:v>8.7122216588646086</c:v>
                </c:pt>
                <c:pt idx="67">
                  <c:v>8.9207216441406167</c:v>
                </c:pt>
                <c:pt idx="68">
                  <c:v>9.1348203984061449</c:v>
                </c:pt>
                <c:pt idx="69">
                  <c:v>9.3525703576450248</c:v>
                </c:pt>
                <c:pt idx="70">
                  <c:v>9.5758901377892727</c:v>
                </c:pt>
                <c:pt idx="71">
                  <c:v>9.8062258211309743</c:v>
                </c:pt>
                <c:pt idx="72">
                  <c:v>10.044453802719817</c:v>
                </c:pt>
                <c:pt idx="73">
                  <c:v>10.285578611868672</c:v>
                </c:pt>
                <c:pt idx="74">
                  <c:v>10.530745117887083</c:v>
                </c:pt>
                <c:pt idx="75">
                  <c:v>10.782885911852061</c:v>
                </c:pt>
                <c:pt idx="76">
                  <c:v>11.039032493746042</c:v>
                </c:pt>
                <c:pt idx="77">
                  <c:v>11.302017414211024</c:v>
                </c:pt>
                <c:pt idx="78">
                  <c:v>11.569116484149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4</c:v>
                </c:pt>
                <c:pt idx="1">
                  <c:v>16</c:v>
                </c:pt>
                <c:pt idx="2">
                  <c:v>17</c:v>
                </c:pt>
                <c:pt idx="3">
                  <c:v>19</c:v>
                </c:pt>
                <c:pt idx="4">
                  <c:v>18</c:v>
                </c:pt>
                <c:pt idx="5">
                  <c:v>16</c:v>
                </c:pt>
                <c:pt idx="6">
                  <c:v>18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18</c:v>
                </c:pt>
                <c:pt idx="13">
                  <c:v>14</c:v>
                </c:pt>
                <c:pt idx="14">
                  <c:v>13</c:v>
                </c:pt>
                <c:pt idx="15">
                  <c:v>11</c:v>
                </c:pt>
                <c:pt idx="16">
                  <c:v>13</c:v>
                </c:pt>
                <c:pt idx="17">
                  <c:v>12</c:v>
                </c:pt>
                <c:pt idx="18">
                  <c:v>10</c:v>
                </c:pt>
                <c:pt idx="19">
                  <c:v>9</c:v>
                </c:pt>
                <c:pt idx="20">
                  <c:v>8</c:v>
                </c:pt>
                <c:pt idx="21">
                  <c:v>10</c:v>
                </c:pt>
                <c:pt idx="22">
                  <c:v>9</c:v>
                </c:pt>
                <c:pt idx="23">
                  <c:v>10</c:v>
                </c:pt>
                <c:pt idx="24">
                  <c:v>7</c:v>
                </c:pt>
                <c:pt idx="25">
                  <c:v>6</c:v>
                </c:pt>
                <c:pt idx="26">
                  <c:v>6</c:v>
                </c:pt>
                <c:pt idx="27">
                  <c:v>7</c:v>
                </c:pt>
                <c:pt idx="28">
                  <c:v>6</c:v>
                </c:pt>
                <c:pt idx="29">
                  <c:v>6</c:v>
                </c:pt>
                <c:pt idx="30">
                  <c:v>7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.5052863528739318</c:v>
                </c:pt>
                <c:pt idx="32">
                  <c:v>4.1540904799691702</c:v>
                </c:pt>
                <c:pt idx="33">
                  <c:v>3.8281477378993882</c:v>
                </c:pt>
                <c:pt idx="34">
                  <c:v>3.5155413601537893</c:v>
                </c:pt>
                <c:pt idx="35">
                  <c:v>3.2242831230335947</c:v>
                </c:pt>
                <c:pt idx="36">
                  <c:v>2.9594824714155599</c:v>
                </c:pt>
                <c:pt idx="37">
                  <c:v>2.7121562722023347</c:v>
                </c:pt>
                <c:pt idx="38">
                  <c:v>2.47993270325391</c:v>
                </c:pt>
                <c:pt idx="39">
                  <c:v>2.2631918008656671</c:v>
                </c:pt>
                <c:pt idx="40">
                  <c:v>2.0593110380074657</c:v>
                </c:pt>
                <c:pt idx="41">
                  <c:v>1.8649434847251287</c:v>
                </c:pt>
                <c:pt idx="42">
                  <c:v>1.6851985908145859</c:v>
                </c:pt>
                <c:pt idx="43">
                  <c:v>1.5225315483303006</c:v>
                </c:pt>
                <c:pt idx="44">
                  <c:v>1.3657414362919009</c:v>
                </c:pt>
                <c:pt idx="45">
                  <c:v>1.2199943297644436</c:v>
                </c:pt>
                <c:pt idx="46">
                  <c:v>1.0843508244036275</c:v>
                </c:pt>
                <c:pt idx="47">
                  <c:v>0.9506847254873565</c:v>
                </c:pt>
                <c:pt idx="48">
                  <c:v>0.83020607488348164</c:v>
                </c:pt>
                <c:pt idx="49">
                  <c:v>0.71614237413643034</c:v>
                </c:pt>
                <c:pt idx="50">
                  <c:v>0.60537888010811169</c:v>
                </c:pt>
                <c:pt idx="51">
                  <c:v>0.50629186826245975</c:v>
                </c:pt>
                <c:pt idx="52">
                  <c:v>0.4088236449382221</c:v>
                </c:pt>
                <c:pt idx="53">
                  <c:v>0.31766502160133275</c:v>
                </c:pt>
                <c:pt idx="54">
                  <c:v>0.23147729946592877</c:v>
                </c:pt>
                <c:pt idx="55">
                  <c:v>0.14929036358064546</c:v>
                </c:pt>
                <c:pt idx="56">
                  <c:v>7.5228483307810651E-2</c:v>
                </c:pt>
                <c:pt idx="57">
                  <c:v>2.811022320052203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.5107214182554713</c:v>
                </c:pt>
                <c:pt idx="32">
                  <c:v>4.1692398473894583</c:v>
                </c:pt>
                <c:pt idx="33">
                  <c:v>3.856278315019972</c:v>
                </c:pt>
                <c:pt idx="34">
                  <c:v>3.5591764436133708</c:v>
                </c:pt>
                <c:pt idx="35">
                  <c:v>3.2862905692110216</c:v>
                </c:pt>
                <c:pt idx="36">
                  <c:v>3.0433336917056106</c:v>
                </c:pt>
                <c:pt idx="37">
                  <c:v>2.8219900290929969</c:v>
                </c:pt>
                <c:pt idx="38">
                  <c:v>2.6197064186215542</c:v>
                </c:pt>
                <c:pt idx="39">
                  <c:v>2.4359280391252032</c:v>
                </c:pt>
                <c:pt idx="40">
                  <c:v>2.2675203843820642</c:v>
                </c:pt>
                <c:pt idx="41">
                  <c:v>2.1106510545838399</c:v>
                </c:pt>
                <c:pt idx="42">
                  <c:v>1.9704132459151196</c:v>
                </c:pt>
                <c:pt idx="43">
                  <c:v>1.8490441225435337</c:v>
                </c:pt>
                <c:pt idx="44">
                  <c:v>1.7347317148715404</c:v>
                </c:pt>
                <c:pt idx="45">
                  <c:v>1.6320947666654715</c:v>
                </c:pt>
                <c:pt idx="46">
                  <c:v>1.5394967675410118</c:v>
                </c:pt>
                <c:pt idx="47">
                  <c:v>1.4485509649237276</c:v>
                </c:pt>
                <c:pt idx="48">
                  <c:v>1.3703325148037098</c:v>
                </c:pt>
                <c:pt idx="49">
                  <c:v>1.2976177611827397</c:v>
                </c:pt>
                <c:pt idx="50">
                  <c:v>1.2270470616491254</c:v>
                </c:pt>
                <c:pt idx="51">
                  <c:v>1.1669789982017857</c:v>
                </c:pt>
                <c:pt idx="52">
                  <c:v>1.1069245189924577</c:v>
                </c:pt>
                <c:pt idx="53">
                  <c:v>1.0514249463512741</c:v>
                </c:pt>
                <c:pt idx="54">
                  <c:v>0.99922044327879622</c:v>
                </c:pt>
                <c:pt idx="55">
                  <c:v>0.94918410050876445</c:v>
                </c:pt>
                <c:pt idx="56">
                  <c:v>0.90540980222217704</c:v>
                </c:pt>
                <c:pt idx="57">
                  <c:v>0.86128834791210918</c:v>
                </c:pt>
                <c:pt idx="58">
                  <c:v>0.82106199906960997</c:v>
                </c:pt>
                <c:pt idx="59">
                  <c:v>0.78176155750851273</c:v>
                </c:pt>
                <c:pt idx="60">
                  <c:v>0.74524933493821477</c:v>
                </c:pt>
                <c:pt idx="61">
                  <c:v>0.71050947736870762</c:v>
                </c:pt>
                <c:pt idx="62">
                  <c:v>0.67605496505835982</c:v>
                </c:pt>
                <c:pt idx="63">
                  <c:v>0.64306074623555243</c:v>
                </c:pt>
                <c:pt idx="64">
                  <c:v>0.61112593731421661</c:v>
                </c:pt>
                <c:pt idx="65">
                  <c:v>0.5813141412952918</c:v>
                </c:pt>
                <c:pt idx="66">
                  <c:v>0.5519393326612918</c:v>
                </c:pt>
                <c:pt idx="67">
                  <c:v>0.52413226928636736</c:v>
                </c:pt>
                <c:pt idx="68">
                  <c:v>0.49751337018443115</c:v>
                </c:pt>
                <c:pt idx="69">
                  <c:v>0.47127154493767687</c:v>
                </c:pt>
                <c:pt idx="70">
                  <c:v>0.44588734493386339</c:v>
                </c:pt>
                <c:pt idx="71">
                  <c:v>0.42138085902345113</c:v>
                </c:pt>
                <c:pt idx="72">
                  <c:v>0.39798347870221018</c:v>
                </c:pt>
                <c:pt idx="73">
                  <c:v>0.37505804066228005</c:v>
                </c:pt>
                <c:pt idx="74">
                  <c:v>0.35225199018270353</c:v>
                </c:pt>
                <c:pt idx="75">
                  <c:v>0.33143870107345219</c:v>
                </c:pt>
                <c:pt idx="76">
                  <c:v>0.31002183438155706</c:v>
                </c:pt>
                <c:pt idx="77">
                  <c:v>0.29027137409262449</c:v>
                </c:pt>
                <c:pt idx="78">
                  <c:v>0.27058427304463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.5161564836370109</c:v>
                </c:pt>
                <c:pt idx="32">
                  <c:v>4.1845401888481213</c:v>
                </c:pt>
                <c:pt idx="33">
                  <c:v>3.8846032468446667</c:v>
                </c:pt>
                <c:pt idx="34">
                  <c:v>3.6028862213312678</c:v>
                </c:pt>
                <c:pt idx="35">
                  <c:v>3.3489600398519537</c:v>
                </c:pt>
                <c:pt idx="36">
                  <c:v>3.1293721626582558</c:v>
                </c:pt>
                <c:pt idx="37">
                  <c:v>2.9367840665159983</c:v>
                </c:pt>
                <c:pt idx="38">
                  <c:v>2.7689506421404833</c:v>
                </c:pt>
                <c:pt idx="39">
                  <c:v>2.6240119507780117</c:v>
                </c:pt>
                <c:pt idx="40">
                  <c:v>2.4983317678574397</c:v>
                </c:pt>
                <c:pt idx="41">
                  <c:v>2.3884226954073422</c:v>
                </c:pt>
                <c:pt idx="42">
                  <c:v>2.2997713601794647</c:v>
                </c:pt>
                <c:pt idx="43">
                  <c:v>2.2347451662534921</c:v>
                </c:pt>
                <c:pt idx="44">
                  <c:v>2.1808285908781988</c:v>
                </c:pt>
                <c:pt idx="45">
                  <c:v>2.1422731074284425</c:v>
                </c:pt>
                <c:pt idx="46">
                  <c:v>2.1167800413205637</c:v>
                </c:pt>
                <c:pt idx="47">
                  <c:v>2.096203058165353</c:v>
                </c:pt>
                <c:pt idx="48">
                  <c:v>2.0914483335263379</c:v>
                </c:pt>
                <c:pt idx="49">
                  <c:v>2.0951301346640361</c:v>
                </c:pt>
                <c:pt idx="50">
                  <c:v>2.1036822844973049</c:v>
                </c:pt>
                <c:pt idx="51">
                  <c:v>2.1248253509995214</c:v>
                </c:pt>
                <c:pt idx="52">
                  <c:v>2.1478515823832911</c:v>
                </c:pt>
                <c:pt idx="53">
                  <c:v>2.1775415119895443</c:v>
                </c:pt>
                <c:pt idx="54">
                  <c:v>2.2125623020769094</c:v>
                </c:pt>
                <c:pt idx="55">
                  <c:v>2.2515391736166093</c:v>
                </c:pt>
                <c:pt idx="56">
                  <c:v>2.2982689510252712</c:v>
                </c:pt>
                <c:pt idx="57">
                  <c:v>2.3462578918490085</c:v>
                </c:pt>
                <c:pt idx="58">
                  <c:v>2.3995303073137846</c:v>
                </c:pt>
                <c:pt idx="59">
                  <c:v>2.4550301922758955</c:v>
                </c:pt>
                <c:pt idx="60">
                  <c:v>2.5148161577266279</c:v>
                </c:pt>
                <c:pt idx="61">
                  <c:v>2.5775553061514946</c:v>
                </c:pt>
                <c:pt idx="62">
                  <c:v>2.641946420019659</c:v>
                </c:pt>
                <c:pt idx="63">
                  <c:v>2.709024757718983</c:v>
                </c:pt>
                <c:pt idx="64">
                  <c:v>2.7784586195568766</c:v>
                </c:pt>
                <c:pt idx="65">
                  <c:v>2.8511373546825545</c:v>
                </c:pt>
                <c:pt idx="66">
                  <c:v>2.9256216573005771</c:v>
                </c:pt>
                <c:pt idx="67">
                  <c:v>3.0029081359991059</c:v>
                </c:pt>
                <c:pt idx="68">
                  <c:v>3.0825720996114079</c:v>
                </c:pt>
                <c:pt idx="69">
                  <c:v>3.1637577380827064</c:v>
                </c:pt>
                <c:pt idx="70">
                  <c:v>3.2470473734932512</c:v>
                </c:pt>
                <c:pt idx="71">
                  <c:v>3.3325977894964041</c:v>
                </c:pt>
                <c:pt idx="72">
                  <c:v>3.4203813974813695</c:v>
                </c:pt>
                <c:pt idx="73">
                  <c:v>3.5101259459989849</c:v>
                </c:pt>
                <c:pt idx="74">
                  <c:v>3.601379420954264</c:v>
                </c:pt>
                <c:pt idx="75">
                  <c:v>3.6958388064073824</c:v>
                </c:pt>
                <c:pt idx="76">
                  <c:v>3.7911474977798365</c:v>
                </c:pt>
                <c:pt idx="77">
                  <c:v>3.8894570778346056</c:v>
                </c:pt>
                <c:pt idx="78">
                  <c:v>3.9894127380911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9</c:v>
                </c:pt>
                <c:pt idx="2">
                  <c:v>16</c:v>
                </c:pt>
                <c:pt idx="3">
                  <c:v>11</c:v>
                </c:pt>
                <c:pt idx="4">
                  <c:v>12</c:v>
                </c:pt>
                <c:pt idx="5">
                  <c:v>12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9</c:v>
                </c:pt>
                <c:pt idx="10">
                  <c:v>12</c:v>
                </c:pt>
                <c:pt idx="11">
                  <c:v>10</c:v>
                </c:pt>
                <c:pt idx="12">
                  <c:v>9</c:v>
                </c:pt>
                <c:pt idx="13">
                  <c:v>12</c:v>
                </c:pt>
                <c:pt idx="14">
                  <c:v>11</c:v>
                </c:pt>
                <c:pt idx="15">
                  <c:v>11</c:v>
                </c:pt>
                <c:pt idx="16">
                  <c:v>11</c:v>
                </c:pt>
                <c:pt idx="17">
                  <c:v>8</c:v>
                </c:pt>
                <c:pt idx="18">
                  <c:v>6</c:v>
                </c:pt>
                <c:pt idx="19">
                  <c:v>6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6</c:v>
                </c:pt>
                <c:pt idx="24">
                  <c:v>6</c:v>
                </c:pt>
                <c:pt idx="25">
                  <c:v>5</c:v>
                </c:pt>
                <c:pt idx="26">
                  <c:v>4</c:v>
                </c:pt>
                <c:pt idx="27">
                  <c:v>4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1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E-3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.7160332050518492</c:v>
                </c:pt>
                <c:pt idx="32">
                  <c:v>1.5801946906750264</c:v>
                </c:pt>
                <c:pt idx="33">
                  <c:v>1.4543401238319102</c:v>
                </c:pt>
                <c:pt idx="34">
                  <c:v>1.3315205014411735</c:v>
                </c:pt>
                <c:pt idx="35">
                  <c:v>1.2167907400995071</c:v>
                </c:pt>
                <c:pt idx="36">
                  <c:v>1.1124420998322573</c:v>
                </c:pt>
                <c:pt idx="37">
                  <c:v>1.0146896597920165</c:v>
                </c:pt>
                <c:pt idx="38">
                  <c:v>0.92288603760169963</c:v>
                </c:pt>
                <c:pt idx="39">
                  <c:v>0.83744222022375003</c:v>
                </c:pt>
                <c:pt idx="40">
                  <c:v>0.75638593140887345</c:v>
                </c:pt>
                <c:pt idx="41">
                  <c:v>0.67841899765134339</c:v>
                </c:pt>
                <c:pt idx="42">
                  <c:v>0.60634619526277789</c:v>
                </c:pt>
                <c:pt idx="43">
                  <c:v>0.54097468305268714</c:v>
                </c:pt>
                <c:pt idx="44">
                  <c:v>0.47596224356668415</c:v>
                </c:pt>
                <c:pt idx="45">
                  <c:v>0.41586842306629851</c:v>
                </c:pt>
                <c:pt idx="46">
                  <c:v>0.36048987310753561</c:v>
                </c:pt>
                <c:pt idx="47">
                  <c:v>0.30470970777147677</c:v>
                </c:pt>
                <c:pt idx="48">
                  <c:v>0.2549407439441409</c:v>
                </c:pt>
                <c:pt idx="49">
                  <c:v>0.20709256322254865</c:v>
                </c:pt>
                <c:pt idx="50">
                  <c:v>0.15938530806233431</c:v>
                </c:pt>
                <c:pt idx="51">
                  <c:v>0.11671260743190284</c:v>
                </c:pt>
                <c:pt idx="52">
                  <c:v>7.4123423559631113E-2</c:v>
                </c:pt>
                <c:pt idx="53">
                  <c:v>3.45327377981925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.7183130299736573</c:v>
                </c:pt>
                <c:pt idx="32">
                  <c:v>1.5865320901017064</c:v>
                </c:pt>
                <c:pt idx="33">
                  <c:v>1.4661338552001322</c:v>
                </c:pt>
                <c:pt idx="34">
                  <c:v>1.3498600366769504</c:v>
                </c:pt>
                <c:pt idx="35">
                  <c:v>1.2429218079497173</c:v>
                </c:pt>
                <c:pt idx="36">
                  <c:v>1.1478915844044717</c:v>
                </c:pt>
                <c:pt idx="37">
                  <c:v>1.0613025378713334</c:v>
                </c:pt>
                <c:pt idx="38">
                  <c:v>0.98243882656392123</c:v>
                </c:pt>
                <c:pt idx="39">
                  <c:v>0.91132236377711018</c:v>
                </c:pt>
                <c:pt idx="40">
                  <c:v>0.84578301560894742</c:v>
                </c:pt>
                <c:pt idx="41">
                  <c:v>0.78430642069955225</c:v>
                </c:pt>
                <c:pt idx="42">
                  <c:v>0.72966324831706064</c:v>
                </c:pt>
                <c:pt idx="43">
                  <c:v>0.68256811136522177</c:v>
                </c:pt>
                <c:pt idx="44">
                  <c:v>0.63640683246264285</c:v>
                </c:pt>
                <c:pt idx="45">
                  <c:v>0.59551394125674129</c:v>
                </c:pt>
                <c:pt idx="46">
                  <c:v>0.55936369753393234</c:v>
                </c:pt>
                <c:pt idx="47">
                  <c:v>0.52271313323674762</c:v>
                </c:pt>
                <c:pt idx="48">
                  <c:v>0.49190898939071881</c:v>
                </c:pt>
                <c:pt idx="49">
                  <c:v>0.46266119879604745</c:v>
                </c:pt>
                <c:pt idx="50">
                  <c:v>0.43308276468148188</c:v>
                </c:pt>
                <c:pt idx="51">
                  <c:v>0.40804595848566216</c:v>
                </c:pt>
                <c:pt idx="52">
                  <c:v>0.3824059818702607</c:v>
                </c:pt>
                <c:pt idx="53">
                  <c:v>0.35901027808756597</c:v>
                </c:pt>
                <c:pt idx="54">
                  <c:v>0.33716337628289694</c:v>
                </c:pt>
                <c:pt idx="55">
                  <c:v>0.31560701651945033</c:v>
                </c:pt>
                <c:pt idx="56">
                  <c:v>0.29711379585048148</c:v>
                </c:pt>
                <c:pt idx="57">
                  <c:v>0.27776519129094224</c:v>
                </c:pt>
                <c:pt idx="58">
                  <c:v>0.26011050940001967</c:v>
                </c:pt>
                <c:pt idx="59">
                  <c:v>0.24260558448350822</c:v>
                </c:pt>
                <c:pt idx="60">
                  <c:v>0.22673800818975889</c:v>
                </c:pt>
                <c:pt idx="61">
                  <c:v>0.21121389134486496</c:v>
                </c:pt>
                <c:pt idx="62">
                  <c:v>0.19587813278491378</c:v>
                </c:pt>
                <c:pt idx="63">
                  <c:v>0.18149681989284649</c:v>
                </c:pt>
                <c:pt idx="64">
                  <c:v>0.16672208762384977</c:v>
                </c:pt>
                <c:pt idx="65">
                  <c:v>0.15304947225287241</c:v>
                </c:pt>
                <c:pt idx="66">
                  <c:v>0.13986485961575151</c:v>
                </c:pt>
                <c:pt idx="67">
                  <c:v>0.12713916358097491</c:v>
                </c:pt>
                <c:pt idx="68">
                  <c:v>0.11503591310151794</c:v>
                </c:pt>
                <c:pt idx="69">
                  <c:v>0.10314850509488269</c:v>
                </c:pt>
                <c:pt idx="70">
                  <c:v>9.1649572147910308E-2</c:v>
                </c:pt>
                <c:pt idx="71">
                  <c:v>8.0416132983772134E-2</c:v>
                </c:pt>
                <c:pt idx="72">
                  <c:v>6.941725084110173E-2</c:v>
                </c:pt>
                <c:pt idx="73">
                  <c:v>5.8936969230396673E-2</c:v>
                </c:pt>
                <c:pt idx="74">
                  <c:v>4.8509761848897062E-2</c:v>
                </c:pt>
                <c:pt idx="75">
                  <c:v>3.9176519093691506E-2</c:v>
                </c:pt>
                <c:pt idx="76">
                  <c:v>2.9342617760004158E-2</c:v>
                </c:pt>
                <c:pt idx="77">
                  <c:v>2.0406380307891801E-2</c:v>
                </c:pt>
                <c:pt idx="78">
                  <c:v>1.153684628567704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.7205928548954654</c:v>
                </c:pt>
                <c:pt idx="32">
                  <c:v>1.5929328179984372</c:v>
                </c:pt>
                <c:pt idx="33">
                  <c:v>1.4780086327362425</c:v>
                </c:pt>
                <c:pt idx="34">
                  <c:v>1.3682314530173745</c:v>
                </c:pt>
                <c:pt idx="35">
                  <c:v>1.2693320685714575</c:v>
                </c:pt>
                <c:pt idx="36">
                  <c:v>1.1842578478432806</c:v>
                </c:pt>
                <c:pt idx="37">
                  <c:v>1.1099961734418942</c:v>
                </c:pt>
                <c:pt idx="38">
                  <c:v>1.0459694570037439</c:v>
                </c:pt>
                <c:pt idx="39">
                  <c:v>0.99165734040439601</c:v>
                </c:pt>
                <c:pt idx="40">
                  <c:v>0.94470754687023883</c:v>
                </c:pt>
                <c:pt idx="41">
                  <c:v>0.903746335503818</c:v>
                </c:pt>
                <c:pt idx="42">
                  <c:v>0.87168775647992713</c:v>
                </c:pt>
                <c:pt idx="43">
                  <c:v>0.84931308028037256</c:v>
                </c:pt>
                <c:pt idx="44">
                  <c:v>0.8297098898370634</c:v>
                </c:pt>
                <c:pt idx="45">
                  <c:v>0.81706982642601078</c:v>
                </c:pt>
                <c:pt idx="46">
                  <c:v>0.81056364384005319</c:v>
                </c:pt>
                <c:pt idx="47">
                  <c:v>0.80504374353806385</c:v>
                </c:pt>
                <c:pt idx="48">
                  <c:v>0.80677902330678963</c:v>
                </c:pt>
                <c:pt idx="49">
                  <c:v>0.81141072175890416</c:v>
                </c:pt>
                <c:pt idx="50">
                  <c:v>0.8169651520775929</c:v>
                </c:pt>
                <c:pt idx="51">
                  <c:v>0.82803812522419884</c:v>
                </c:pt>
                <c:pt idx="52">
                  <c:v>0.83938610275715875</c:v>
                </c:pt>
                <c:pt idx="53">
                  <c:v>0.85394759129854858</c:v>
                </c:pt>
                <c:pt idx="54">
                  <c:v>0.87099300604315766</c:v>
                </c:pt>
                <c:pt idx="55">
                  <c:v>0.88915573140949566</c:v>
                </c:pt>
                <c:pt idx="56">
                  <c:v>0.91107643149430384</c:v>
                </c:pt>
                <c:pt idx="57">
                  <c:v>0.93287800449889668</c:v>
                </c:pt>
                <c:pt idx="58">
                  <c:v>0.95700921977677356</c:v>
                </c:pt>
                <c:pt idx="59">
                  <c:v>0.98189093872551592</c:v>
                </c:pt>
                <c:pt idx="60">
                  <c:v>1.0090914627405954</c:v>
                </c:pt>
                <c:pt idx="61">
                  <c:v>1.037181738268562</c:v>
                </c:pt>
                <c:pt idx="62">
                  <c:v>1.0660836146248718</c:v>
                </c:pt>
                <c:pt idx="63">
                  <c:v>1.0964980146570191</c:v>
                </c:pt>
                <c:pt idx="64">
                  <c:v>1.1271041940197406</c:v>
                </c:pt>
                <c:pt idx="65">
                  <c:v>1.159322294478216</c:v>
                </c:pt>
                <c:pt idx="66">
                  <c:v>1.1926453903765231</c:v>
                </c:pt>
                <c:pt idx="67">
                  <c:v>1.2269869884094442</c:v>
                </c:pt>
                <c:pt idx="68">
                  <c:v>1.2624917415654369</c:v>
                </c:pt>
                <c:pt idx="69">
                  <c:v>1.2987320775886431</c:v>
                </c:pt>
                <c:pt idx="70">
                  <c:v>1.3359212203376882</c:v>
                </c:pt>
                <c:pt idx="71">
                  <c:v>1.3739948555216466</c:v>
                </c:pt>
                <c:pt idx="72">
                  <c:v>1.4128162119206396</c:v>
                </c:pt>
                <c:pt idx="73">
                  <c:v>1.4528223053735307</c:v>
                </c:pt>
                <c:pt idx="74">
                  <c:v>1.493502677466402</c:v>
                </c:pt>
                <c:pt idx="75">
                  <c:v>1.535826845225261</c:v>
                </c:pt>
                <c:pt idx="76">
                  <c:v>1.5783038680957446</c:v>
                </c:pt>
                <c:pt idx="77">
                  <c:v>1.6222789602213961</c:v>
                </c:pt>
                <c:pt idx="78">
                  <c:v>1.6670282396006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3743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59782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40822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55071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13857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20788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31062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13526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816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85808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313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31070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55036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6108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851701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29874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979765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61461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72623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64018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65670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68416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42559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762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9481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6979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09224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27231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33636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6927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chart" Target="../charts/chart1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chart" Target="../charts/chart1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chart" Target="../charts/chart1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chart" Target="../charts/chart1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chart" Target="../charts/chart1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9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1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chart" Target="../charts/chart19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20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8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91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5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tags" Target="../tags/tag108.xml"/><Relationship Id="rId7" Type="http://schemas.openxmlformats.org/officeDocument/2006/relationships/notesSlide" Target="../notesSlides/notesSlide26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chart" Target="../charts/chart2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chart" Target="../charts/chart2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29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chart" Target="../charts/chart30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935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244776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9C94301-76D1-471B-AD07-41B142DFA7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5684242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C97B2D32-645B-4FB4-8798-F7EE803CCF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AF91D3B4-3A01-4C78-A2C9-1E6FF0F09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65FB62A-3233-422D-96CB-CEE88D401E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2AA313A-9BCB-4F66-830C-D7D75550BF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2F3AB7B5-5219-48A0-9D17-293EC05E618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556E7816-273B-4837-87DE-C468C15A3B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24657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78426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6BF9611-0708-4F6A-B0EC-E175F9001C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188974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6C99A97F-6CD3-4316-8BB3-E69F1D5B53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9C9BA506-83A6-4C76-91FA-F3288061FD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49AAE6B-72BC-4224-842C-B42356A805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5181FB1-FFB7-4400-B278-CE6E67459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D9514A2F-DFA6-4333-8A64-BAB1726C86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BA3CDEB-1ED9-4825-9703-A208313FE4D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93903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415482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ACD3DB77-EA3C-4F1B-B665-9A006394E4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432468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938118C4-37ED-453C-804F-D54A9039BC4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E06A67BB-3731-41A0-A389-AB8E3CC4CF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39BEDFB-B1C0-49B2-89A5-F6915F0307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FF782C8-8185-482E-AF60-E7E075D9A0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2ABE1AD-FE36-44E3-A722-E8ECA9C634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63C0F1CD-3BF4-44A0-91C4-10E5FB5854B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EE1F9E6-FBA5-44A4-B2EC-C28BC15F3F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2668552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9942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E3B1874-5601-48C4-A737-A13B4EF08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9384448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498F9FAD-DB86-4210-AB29-2C3B4DD08D0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FDB65C53-0C61-46AB-8938-49687CF1F2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2508400-B61C-4D6D-A43B-D2A33805561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F2DFADE-CA34-4664-89B6-755AA6D4321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FE7977B-6A69-4E3E-8888-453E6F82F0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3AEEAFF7-54FA-4475-877A-992EC1BE87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03585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479447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730B51E8-0894-40E7-B814-5D08F7D49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705045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1CA5D0A-DD0C-4FAE-9076-B36AA0A2E40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6466981A-CC5B-4F7F-B98D-B925BFAE21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34D6CDE-29BF-4B1B-B12F-9F576D703CF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E62AD97E-39F7-498A-9FEC-D052D3BBFA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8D51CC86-AB10-4A75-9104-1E89A6936A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654209E1-C2E9-4734-93A5-5BF7A3A55E9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68799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20349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45A877B-5B45-400B-BF72-538173069A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702754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5A56192D-BE37-450E-A12D-75D4F736BC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3BB8846-4039-4663-940A-BC65DA5E49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23FE3E2-008D-43C7-BC0E-6B6030671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863A781-FB2A-48CC-B963-252ACE9630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955BAA68-9C79-49C8-9642-FEC9AA4229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DDFC6E5-8F0A-4ADC-8299-3CEA5F24A91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94171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381700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5BB59630-A84D-402A-AC16-085034B378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8852430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5C28702E-D177-4104-8090-2E1CC47A75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A531401D-8BD5-4ABA-947B-69CF3D3A8B4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70CEDB93-8262-454C-801F-470B8AA99E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CAD886D-E791-49FE-A77F-85A3D81030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D9BEAD6D-8513-4341-B903-F652F1411C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97BF5CAF-A783-40B8-8437-1EEC7E9C0B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333899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1892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5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88110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abulka 2">
            <a:extLst>
              <a:ext uri="{FF2B5EF4-FFF2-40B4-BE49-F238E27FC236}">
                <a16:creationId xmlns:a16="http://schemas.microsoft.com/office/drawing/2014/main" id="{6F71CC2C-539B-48D1-BF75-58C2BD4C6A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3358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9" name="Skupina 18">
            <a:extLst>
              <a:ext uri="{FF2B5EF4-FFF2-40B4-BE49-F238E27FC236}">
                <a16:creationId xmlns:a16="http://schemas.microsoft.com/office/drawing/2014/main" id="{782EE1F6-005C-44C2-9B36-D3BECD74A3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D52932-C8B4-4FAA-BB6A-F2D75F2D69E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02E1038-79A8-4894-9CCA-EA9D9BED8D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3A26D4D7-8E30-428B-8850-C5AD43E4DF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CF290245-D5EF-45F3-A7C2-487FE955B2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6A74A08-D64D-4FFE-9461-2D9D9ADDA6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495167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21966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C549A78-A0BA-4FC2-B98C-19A79A6F6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3135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DC017A-898F-4CAE-BC2F-42E17CFD1A2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B00F747-0A0A-444B-8E79-9A5901D444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36E421E-08B9-472A-A643-D01D21C3AD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AE5CDB09-5BA7-4928-B771-DFF8DEE018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D8B1F43-B2EE-4104-9BA4-430035E554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10D5F8E-2FF5-41DB-9E80-703D0EDF177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78937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240448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EF1C02E-625C-4816-A44E-166BB0B32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484349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D0AA204C-B6B5-4A8E-908B-D36789D5F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BB9DE57-DDA1-42D2-9392-9104C6EC33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AD528B-97BF-42CA-B10A-3727DD76BA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23570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9194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9B2140E-A21C-4281-A536-F57EBB027E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43329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8354A79-10E9-41DC-B10B-F94458BE49A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5F9D02-6850-413C-B09A-5E82D04EDA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B06F2FC-FD20-443B-B0F8-D0E2571253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E9C901E-49E0-4FE6-B908-43AC2CE4FD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68901A3-4F3B-4441-8797-6EDDE56A7B6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2C92302-D353-4983-858F-32D2BAE5F7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132056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729789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7F3B6337-A1D4-4082-8D2E-DF7875907D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46618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7DAB21F-806B-443D-A1E8-CC34F2A7AB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E038368-5099-4D93-8D65-371C675A17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C9E0170-D85D-425F-9AEB-762B2C346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4E34919-A559-4203-8E1C-A4A97DF542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0D24C0E0-F185-4AE9-8369-A852B51392B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45871F7F-1EF0-4C0F-A764-2FD6B4E867B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435808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2385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058B4BE-7D91-44F5-BB65-F07FF2BD35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77849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3A29703-930A-4734-882C-699BBE3ED74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54549665-8C69-45F9-978F-C5D8F77EA3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2FA3679-DC15-439C-A729-67111E7C6C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56FBEE-7D11-46A8-984B-5C2913D85F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B7701D1C-6EF6-4895-AD90-0269830E803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261B426D-FBCB-4387-B949-9869ADE8152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276162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488469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2A08C8B-B75B-4C2C-B778-E004A3870E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85249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B2B706-E993-4A2D-9A00-1C66C43F52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D5B15A9-6FE5-4667-AD26-606860D59B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F8EBC3-402B-410F-83E2-25C2242D0B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F60EDCD-EC0C-4D40-A8B3-D337765311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E58B9586-7C78-48DD-B24F-B6DD8C6FF0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B5341A78-CE72-4E21-9B54-98F723C2DB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B84BEA46-0A53-4F78-A82B-20C0F82516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27061323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981519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6437330-334A-4600-9C7B-9825AE6C1A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6660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5D10563-2E5B-4750-BEAC-3C1E277F7CB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F54387E-27AE-4F3F-92C9-EA872CE904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A99C7DF-1E91-4B29-BEC4-11A4D422C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CF8E0EF-9D2E-474F-9D75-EB6692707E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99E56E98-82BA-47EA-9C55-326CBB85329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6704E4D-9087-47CA-AB25-FC1974F79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594626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18481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3D487BA-9B11-4352-A77F-770C3BDD0A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2172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E49F903-440A-4557-ABB9-666195B720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79570F6-4A5D-4168-A47D-1025E55CBB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7C9440-76EC-4CCF-870C-2FA5654AFD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AAD7CBC7-DE75-404B-922C-DD13E2B9A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6D5C76E-73F5-4ED7-B2D6-73CB552AD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D3C47BAF-A7A9-44CA-955B-86CC0589E8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916300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53810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0C14DB5-81B7-4F78-B8CE-EFAD021BF0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05026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C88403D-0403-424F-B980-EF1A1A1DBCF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6B4EF9C-E949-4C58-B41E-925D1925FC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8E3EB18-2CB5-4AFD-8CDE-8A85D81041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FEF355B-4A69-4C97-B5C7-7528E271A4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4B92DE8F-EC86-4EE8-92CD-BE22034A7E3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E197EB78-AE5A-4F93-9FB4-62C9D53CDC1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516916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82841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71A9801-86EF-40F8-9826-B4D8AFBF61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27575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3539AF4-AC1D-4F00-B66F-09664985735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C7471F2-94B4-4B4F-88C9-B1F7164588A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11FA45B-2E04-42F5-B604-4D7D94F15D7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25582B8-648F-411A-8790-A24B12215E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CD69133-2C21-4B33-B5B6-0922DDA91B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60950B55-FBC6-4670-B901-BAB5103A7A3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900670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41780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F7A2B15-0BFF-428F-8D45-BEB235034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86602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D481D8E-35D6-430D-960D-80253AB394C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EC4978F-9BD1-40D8-934B-8D94BCE081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C0FC9E0-4A9F-43E5-AAF1-E90AB9A195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8D01E75-45A7-488D-8048-81D296F20C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75357A1A-6F0B-4BD5-AC1F-EA4F11B0396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BDEF6670-696B-47D5-9C7F-3CFD9E78C97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5637E62-58E3-48FB-916B-7DD1CECF871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16258963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11801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30BE2586-E921-4F46-842F-80ADC8436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84800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FAEDDFD-AD1C-4580-A2FD-FCEF3B5EC43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586DB4C0-DD7D-4227-9542-B92810CEF8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8EF3A21-F087-4FB9-B8CC-55DBD2293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B03B70D-67D0-46F6-A714-7B0431C78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50DD805-CFC0-4003-BFA4-DD4255C69E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3DF0CB7-64AD-43AF-A12F-8409EC83E7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49716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012465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D482120-ADCC-4315-A5DE-3463602DE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820942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E9B4F38C-3640-400D-82FA-AF45F9EE3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0D78CCF1-0C24-4F57-A7C3-8C7AC2BC6E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2B98E7BE-D7D3-4D4A-9660-86A36F5423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7916A1B-391C-4512-8827-9C5AFDA287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50CB8D1B-467B-4883-AB1C-B4E0AB23FEB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6D380F49-16BA-4582-ABA0-D66058F804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772291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54467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16B6C57-9110-4DC8-88DC-E8ECDF3769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41201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F2378FB-C92F-4831-AE67-5F6FFC79C44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1381B44-51B2-4753-A767-9C69C239A6A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07D1B3E-1DE9-4C8B-AA62-F77C3992D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BFD0D26-7832-474C-9BA9-D89D42CF15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5B48C597-5FDB-470F-AC88-BA6886745E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74573C62-5C9A-4F55-B6AD-140BF85ACC3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496150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03592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A695F52-2DAF-476B-9205-632C4409F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7689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5F822D9C-1B0C-4462-A8BE-179128B1680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536421C-F03C-41E5-8742-E85F5E3C9E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C94588D-C558-4533-9616-8F393E36C9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CABEEED-AE1D-4388-80DE-EEE2C7857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A14AFB3-C88C-45B5-BC6B-F068B489B5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16ACE98-6126-45EF-866E-86F6D4470D9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905049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27733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90DD024-D04F-45B2-B26E-AC516C57EE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04862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1B077DA-B2D6-4779-B09D-B5443AF706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4722AA64-B9BB-4138-BE39-6F717D849E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AB2646C-9AF0-45DD-B05D-6283351512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DAC6052-320B-4897-9893-968BC30938C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A2B0CDD-8647-4AA1-A85D-69F42F32E8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3A8AD4D4-C28B-4F2A-8456-0CC227E4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798274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49122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E3129ED-44B0-4F30-9013-4D0DC12D0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766567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49BCFB9-0CFD-4354-9A25-8E46B0B0988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FAD4C5A-6613-4BAE-B93E-A004BA03DA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1355F4D-ED1A-4031-A4DD-943431A3ED8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C636C9F-E9D3-4215-9D44-79FC90F8D0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ED94B27-D0C7-4A91-952A-4F71E1DCDA2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ECDCF655-8444-4080-BC85-C10EF849212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78763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56374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D33C101-4778-4BBE-8494-C215791D9D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644219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4C74674A-1D73-4223-81BB-7ABA41A24FB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22B7C228-A0CC-492B-85FB-7B29EBA0208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2ED908-53CA-4960-AB9A-68651283C0E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EC6B26C-2D4E-4C8D-B26D-8EE294A0BE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D12D59EA-F7A0-474A-A6FE-EB681D2334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F9CDB0E2-586E-4F52-89BC-D416782380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6629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494920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D0289D9-6480-448D-A202-DB7592A493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461330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3D6A82F1-73E3-4C1F-89E1-F7E5C084FA6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F598B838-0C0A-4584-81E3-C59D9E5A2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778523-F2F7-4C79-A302-FA61562E3ED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D91A416-2524-401F-B6B3-720A6DBB11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D974B0D-32F5-48C5-8C59-4AE5AACF31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B33F7141-7594-4618-89C7-84A5F9A3CC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42390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85719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29EEDCA-538A-467C-A4C7-0EBF384815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761961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16340A2-6D02-479D-822F-DF646F3462D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EA89D1F7-B0D6-4119-B4B0-EC9390A0D0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7FE0A0B-D23B-4606-B5C9-D0DD2B13C93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76D80BD7-EFF7-4E9F-BEDA-481F54B542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1CBE419A-1DFC-4AA0-86A8-58DC9011CF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8B7AC57-1F7B-40F2-B757-0C66C470B8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41" name="TextBox 9">
            <a:extLst>
              <a:ext uri="{FF2B5EF4-FFF2-40B4-BE49-F238E27FC236}">
                <a16:creationId xmlns:a16="http://schemas.microsoft.com/office/drawing/2014/main" id="{E14A6181-5111-40BF-8F42-8DD25390C0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98715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533894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2D97D75-5EA7-483D-B0EF-9A0B9ABDD0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025791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D23713EE-6DBC-47AD-83AB-EE29926580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99A3B7E5-270F-4AEA-9B0D-D8AA2AEEC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B8C02EF-BD90-4936-8F17-FAA9C3BAAE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FAB0C2-6B0F-4355-839E-0814C6025B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B2AFA99-D752-4459-AD89-69324CC172F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2E8B9FF7-A62E-4C5A-B06F-8C2FBA78AB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17784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242660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E205A55-F757-4925-A1A4-D4C52CDB81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919577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2FD96A6-CEBD-4022-9CFC-03FA83B1DC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B027D6-ACE6-472A-94F5-9F4B30B49F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1588AAA-67DF-4058-BB71-16D78C8871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DB51285-2335-48F9-8CE6-2667A5F527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58FD6B2B-A658-48B0-AE99-F161B12984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BD4A88B4-36DD-4CD9-993E-4224801BB3A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20861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6</TotalTime>
  <Words>2104</Words>
  <Application>Microsoft Office PowerPoint</Application>
  <PresentationFormat>Širokoúhlá obrazovka</PresentationFormat>
  <Paragraphs>351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Švancara Jan Mgr</cp:lastModifiedBy>
  <cp:revision>157</cp:revision>
  <dcterms:created xsi:type="dcterms:W3CDTF">2021-03-07T17:04:34Z</dcterms:created>
  <dcterms:modified xsi:type="dcterms:W3CDTF">2021-06-25T17:47:44Z</dcterms:modified>
</cp:coreProperties>
</file>